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2" r:id="rId3"/>
    <p:sldId id="263" r:id="rId4"/>
    <p:sldId id="265" r:id="rId5"/>
    <p:sldId id="266" r:id="rId6"/>
    <p:sldId id="264" r:id="rId7"/>
    <p:sldId id="2147378494" r:id="rId8"/>
    <p:sldId id="2147378487" r:id="rId9"/>
    <p:sldId id="2147378497" r:id="rId10"/>
    <p:sldId id="2147378496" r:id="rId11"/>
    <p:sldId id="2147378495" r:id="rId12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233F"/>
    <a:srgbClr val="D0A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883442-4FF3-4E77-B7BA-C4E2478C22C3}" v="68" dt="2022-12-06T18:47:15.2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C54E05-BA74-4D66-AAC9-8E0139238EEE}" type="doc">
      <dgm:prSet loTypeId="urn:microsoft.com/office/officeart/2005/8/layout/chevron1" loCatId="process" qsTypeId="urn:microsoft.com/office/officeart/2005/8/quickstyle/simple1" qsCatId="simple" csTypeId="urn:microsoft.com/office/officeart/2005/8/colors/accent4_2" csCatId="accent4" phldr="1"/>
      <dgm:spPr/>
    </dgm:pt>
    <dgm:pt modelId="{4B9A768F-EF92-414E-A091-50C9528330BC}">
      <dgm:prSet phldrT="[Texto]" custT="1"/>
      <dgm:spPr/>
      <dgm:t>
        <a:bodyPr/>
        <a:lstStyle/>
        <a:p>
          <a:endParaRPr lang="pt-BR" sz="800" b="1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gm:t>
    </dgm:pt>
    <dgm:pt modelId="{4E232F99-6234-466C-897D-7487BDAFE8CB}" type="parTrans" cxnId="{58AA81FA-FC22-437D-94BD-46086CF75179}">
      <dgm:prSet/>
      <dgm:spPr/>
      <dgm:t>
        <a:bodyPr/>
        <a:lstStyle/>
        <a:p>
          <a:endParaRPr lang="pt-BR"/>
        </a:p>
      </dgm:t>
    </dgm:pt>
    <dgm:pt modelId="{BD4EF705-48D2-4CF2-9FB8-046576BF2EA5}" type="sibTrans" cxnId="{58AA81FA-FC22-437D-94BD-46086CF75179}">
      <dgm:prSet/>
      <dgm:spPr/>
      <dgm:t>
        <a:bodyPr/>
        <a:lstStyle/>
        <a:p>
          <a:endParaRPr lang="pt-BR"/>
        </a:p>
      </dgm:t>
    </dgm:pt>
    <dgm:pt modelId="{F4213349-9B74-4F84-A726-6DCDED54D354}">
      <dgm:prSet phldrT="[Texto]" custT="1"/>
      <dgm:spPr/>
      <dgm:t>
        <a:bodyPr/>
        <a:lstStyle/>
        <a:p>
          <a:endParaRPr lang="pt-BR" sz="800" b="1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gm:t>
    </dgm:pt>
    <dgm:pt modelId="{A8209927-056E-4E19-B6ED-B50F4561A8B8}" type="parTrans" cxnId="{6124A315-4ACE-41B7-B4D5-7579950ED58F}">
      <dgm:prSet/>
      <dgm:spPr/>
      <dgm:t>
        <a:bodyPr/>
        <a:lstStyle/>
        <a:p>
          <a:endParaRPr lang="pt-BR"/>
        </a:p>
      </dgm:t>
    </dgm:pt>
    <dgm:pt modelId="{1294F3FF-B0C3-4F34-B596-23A6C0999062}" type="sibTrans" cxnId="{6124A315-4ACE-41B7-B4D5-7579950ED58F}">
      <dgm:prSet/>
      <dgm:spPr/>
      <dgm:t>
        <a:bodyPr/>
        <a:lstStyle/>
        <a:p>
          <a:endParaRPr lang="pt-BR"/>
        </a:p>
      </dgm:t>
    </dgm:pt>
    <dgm:pt modelId="{70846AC4-60AD-4DF6-836E-80788C5B7DE5}">
      <dgm:prSet phldrT="[Texto]" custT="1"/>
      <dgm:spPr/>
      <dgm:t>
        <a:bodyPr/>
        <a:lstStyle/>
        <a:p>
          <a:endParaRPr lang="pt-BR" sz="800" b="1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gm:t>
    </dgm:pt>
    <dgm:pt modelId="{8D12762C-5428-4FAD-9962-9D43556115B1}" type="parTrans" cxnId="{F318AA93-C74F-48CB-85FB-79D3F49B382D}">
      <dgm:prSet/>
      <dgm:spPr/>
      <dgm:t>
        <a:bodyPr/>
        <a:lstStyle/>
        <a:p>
          <a:endParaRPr lang="pt-BR"/>
        </a:p>
      </dgm:t>
    </dgm:pt>
    <dgm:pt modelId="{AA75125F-8C82-4E7F-8183-ED1AC023E526}" type="sibTrans" cxnId="{F318AA93-C74F-48CB-85FB-79D3F49B382D}">
      <dgm:prSet/>
      <dgm:spPr/>
      <dgm:t>
        <a:bodyPr/>
        <a:lstStyle/>
        <a:p>
          <a:endParaRPr lang="pt-BR"/>
        </a:p>
      </dgm:t>
    </dgm:pt>
    <dgm:pt modelId="{CD8C0639-4253-47BE-B20A-3A083191B131}">
      <dgm:prSet phldrT="[Texto]" custT="1"/>
      <dgm:spPr/>
      <dgm:t>
        <a:bodyPr/>
        <a:lstStyle/>
        <a:p>
          <a:endParaRPr lang="pt-BR" sz="800" b="1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gm:t>
    </dgm:pt>
    <dgm:pt modelId="{64C2DE00-A2D5-44C5-9D2E-1666974144D3}" type="parTrans" cxnId="{CA618912-2BDB-4936-B981-E27B3E9C15FE}">
      <dgm:prSet/>
      <dgm:spPr/>
      <dgm:t>
        <a:bodyPr/>
        <a:lstStyle/>
        <a:p>
          <a:endParaRPr lang="pt-BR"/>
        </a:p>
      </dgm:t>
    </dgm:pt>
    <dgm:pt modelId="{747F6962-C881-4B53-B7F0-240D7C10E5B4}" type="sibTrans" cxnId="{CA618912-2BDB-4936-B981-E27B3E9C15FE}">
      <dgm:prSet/>
      <dgm:spPr/>
      <dgm:t>
        <a:bodyPr/>
        <a:lstStyle/>
        <a:p>
          <a:endParaRPr lang="pt-BR"/>
        </a:p>
      </dgm:t>
    </dgm:pt>
    <dgm:pt modelId="{077BBCDF-0A2A-4531-8BBE-D2F833511E50}">
      <dgm:prSet phldrT="[Texto]" custT="1"/>
      <dgm:spPr/>
      <dgm:t>
        <a:bodyPr/>
        <a:lstStyle/>
        <a:p>
          <a:endParaRPr lang="pt-BR" sz="800" b="1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gm:t>
    </dgm:pt>
    <dgm:pt modelId="{3FE69F5A-8B12-4194-8F77-3233BD1169DF}" type="parTrans" cxnId="{52F867FC-775C-4855-BB9C-AC8F11682B02}">
      <dgm:prSet/>
      <dgm:spPr/>
      <dgm:t>
        <a:bodyPr/>
        <a:lstStyle/>
        <a:p>
          <a:endParaRPr lang="pt-BR"/>
        </a:p>
      </dgm:t>
    </dgm:pt>
    <dgm:pt modelId="{7A467141-AAFD-4CFE-8280-17294E9BB397}" type="sibTrans" cxnId="{52F867FC-775C-4855-BB9C-AC8F11682B02}">
      <dgm:prSet/>
      <dgm:spPr/>
      <dgm:t>
        <a:bodyPr/>
        <a:lstStyle/>
        <a:p>
          <a:endParaRPr lang="pt-BR"/>
        </a:p>
      </dgm:t>
    </dgm:pt>
    <dgm:pt modelId="{8D499AF5-0DDB-48E5-91F1-CAECBE3DD29D}">
      <dgm:prSet phldrT="[Texto]" custT="1"/>
      <dgm:spPr/>
      <dgm:t>
        <a:bodyPr/>
        <a:lstStyle/>
        <a:p>
          <a:r>
            <a:rPr lang="pt-BR" sz="800" b="1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rPr>
            <a:t>             </a:t>
          </a:r>
          <a:endParaRPr lang="pt-BR" sz="800" b="1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gm:t>
    </dgm:pt>
    <dgm:pt modelId="{252A8B88-703A-4EFF-B5F3-D73D6F30D627}" type="sibTrans" cxnId="{A030D856-41C6-4D9B-A5A4-275791A76D38}">
      <dgm:prSet/>
      <dgm:spPr/>
      <dgm:t>
        <a:bodyPr/>
        <a:lstStyle/>
        <a:p>
          <a:endParaRPr lang="pt-BR"/>
        </a:p>
      </dgm:t>
    </dgm:pt>
    <dgm:pt modelId="{12D7F4B5-B8A3-4644-A254-333DE0ACFDE9}" type="parTrans" cxnId="{A030D856-41C6-4D9B-A5A4-275791A76D38}">
      <dgm:prSet/>
      <dgm:spPr/>
      <dgm:t>
        <a:bodyPr/>
        <a:lstStyle/>
        <a:p>
          <a:endParaRPr lang="pt-BR"/>
        </a:p>
      </dgm:t>
    </dgm:pt>
    <dgm:pt modelId="{903E2F69-B342-480B-9C8A-126A6C087035}">
      <dgm:prSet phldrT="[Texto]" custT="1"/>
      <dgm:spPr/>
      <dgm:t>
        <a:bodyPr/>
        <a:lstStyle/>
        <a:p>
          <a:endParaRPr lang="pt-BR" sz="800" b="1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gm:t>
    </dgm:pt>
    <dgm:pt modelId="{7C5FB519-0E2D-449C-B749-BDD58714CEC1}" type="parTrans" cxnId="{349C5BC3-81D3-4FD6-BCDF-C041A7A2ADCC}">
      <dgm:prSet/>
      <dgm:spPr/>
      <dgm:t>
        <a:bodyPr/>
        <a:lstStyle/>
        <a:p>
          <a:endParaRPr lang="pt-BR"/>
        </a:p>
      </dgm:t>
    </dgm:pt>
    <dgm:pt modelId="{170C4637-3441-4B6E-B6FB-1667114E72C6}" type="sibTrans" cxnId="{349C5BC3-81D3-4FD6-BCDF-C041A7A2ADCC}">
      <dgm:prSet/>
      <dgm:spPr/>
      <dgm:t>
        <a:bodyPr/>
        <a:lstStyle/>
        <a:p>
          <a:endParaRPr lang="pt-BR"/>
        </a:p>
      </dgm:t>
    </dgm:pt>
    <dgm:pt modelId="{C09D7B68-1263-484A-AE03-8C4A32440D99}" type="pres">
      <dgm:prSet presAssocID="{ABC54E05-BA74-4D66-AAC9-8E0139238EEE}" presName="Name0" presStyleCnt="0">
        <dgm:presLayoutVars>
          <dgm:dir/>
          <dgm:animLvl val="lvl"/>
          <dgm:resizeHandles val="exact"/>
        </dgm:presLayoutVars>
      </dgm:prSet>
      <dgm:spPr/>
    </dgm:pt>
    <dgm:pt modelId="{98738517-B6D2-4A50-A13D-B914B01C51E8}" type="pres">
      <dgm:prSet presAssocID="{8D499AF5-0DDB-48E5-91F1-CAECBE3DD29D}" presName="parTxOnly" presStyleLbl="node1" presStyleIdx="0" presStyleCnt="7">
        <dgm:presLayoutVars>
          <dgm:chMax val="0"/>
          <dgm:chPref val="0"/>
          <dgm:bulletEnabled val="1"/>
        </dgm:presLayoutVars>
      </dgm:prSet>
      <dgm:spPr/>
    </dgm:pt>
    <dgm:pt modelId="{1E16A1F2-A033-4A09-A4DF-CD7BFE0845E9}" type="pres">
      <dgm:prSet presAssocID="{252A8B88-703A-4EFF-B5F3-D73D6F30D627}" presName="parTxOnlySpace" presStyleCnt="0"/>
      <dgm:spPr/>
    </dgm:pt>
    <dgm:pt modelId="{6A1B2C55-6EE2-40A7-8704-D12E07A85A63}" type="pres">
      <dgm:prSet presAssocID="{903E2F69-B342-480B-9C8A-126A6C087035}" presName="parTxOnly" presStyleLbl="node1" presStyleIdx="1" presStyleCnt="7" custLinFactNeighborX="-13914" custLinFactNeighborY="2218">
        <dgm:presLayoutVars>
          <dgm:chMax val="0"/>
          <dgm:chPref val="0"/>
          <dgm:bulletEnabled val="1"/>
        </dgm:presLayoutVars>
      </dgm:prSet>
      <dgm:spPr/>
    </dgm:pt>
    <dgm:pt modelId="{20CCC40D-B50D-4DDA-BFAB-BC701636F235}" type="pres">
      <dgm:prSet presAssocID="{170C4637-3441-4B6E-B6FB-1667114E72C6}" presName="parTxOnlySpace" presStyleCnt="0"/>
      <dgm:spPr/>
    </dgm:pt>
    <dgm:pt modelId="{AA81ECE2-3971-461C-BFCD-1F98F994CC6B}" type="pres">
      <dgm:prSet presAssocID="{4B9A768F-EF92-414E-A091-50C9528330BC}" presName="parTxOnly" presStyleLbl="node1" presStyleIdx="2" presStyleCnt="7" custLinFactNeighborX="-12856" custLinFactNeighborY="0">
        <dgm:presLayoutVars>
          <dgm:chMax val="0"/>
          <dgm:chPref val="0"/>
          <dgm:bulletEnabled val="1"/>
        </dgm:presLayoutVars>
      </dgm:prSet>
      <dgm:spPr/>
    </dgm:pt>
    <dgm:pt modelId="{08390DDE-0B9D-4476-A3BD-35E8DAB22A4C}" type="pres">
      <dgm:prSet presAssocID="{BD4EF705-48D2-4CF2-9FB8-046576BF2EA5}" presName="parTxOnlySpace" presStyleCnt="0"/>
      <dgm:spPr/>
    </dgm:pt>
    <dgm:pt modelId="{980C9FE2-0C9E-4642-BA20-7B59D68577B3}" type="pres">
      <dgm:prSet presAssocID="{F4213349-9B74-4F84-A726-6DCDED54D354}" presName="parTxOnly" presStyleLbl="node1" presStyleIdx="3" presStyleCnt="7">
        <dgm:presLayoutVars>
          <dgm:chMax val="0"/>
          <dgm:chPref val="0"/>
          <dgm:bulletEnabled val="1"/>
        </dgm:presLayoutVars>
      </dgm:prSet>
      <dgm:spPr/>
    </dgm:pt>
    <dgm:pt modelId="{D03782A4-26B3-469C-93E9-5189EA4E03F6}" type="pres">
      <dgm:prSet presAssocID="{1294F3FF-B0C3-4F34-B596-23A6C0999062}" presName="parTxOnlySpace" presStyleCnt="0"/>
      <dgm:spPr/>
    </dgm:pt>
    <dgm:pt modelId="{D0FED0E1-99D3-4C6E-A9D7-0B3511C9D1F5}" type="pres">
      <dgm:prSet presAssocID="{70846AC4-60AD-4DF6-836E-80788C5B7DE5}" presName="parTxOnly" presStyleLbl="node1" presStyleIdx="4" presStyleCnt="7">
        <dgm:presLayoutVars>
          <dgm:chMax val="0"/>
          <dgm:chPref val="0"/>
          <dgm:bulletEnabled val="1"/>
        </dgm:presLayoutVars>
      </dgm:prSet>
      <dgm:spPr/>
    </dgm:pt>
    <dgm:pt modelId="{46EB86A6-EAEB-4688-9380-B4F3253F6339}" type="pres">
      <dgm:prSet presAssocID="{AA75125F-8C82-4E7F-8183-ED1AC023E526}" presName="parTxOnlySpace" presStyleCnt="0"/>
      <dgm:spPr/>
    </dgm:pt>
    <dgm:pt modelId="{7D521138-BEDC-4A7E-8A68-747E36965A26}" type="pres">
      <dgm:prSet presAssocID="{CD8C0639-4253-47BE-B20A-3A083191B131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96C0C843-AFEF-416C-9BF0-96570B0E6524}" type="pres">
      <dgm:prSet presAssocID="{747F6962-C881-4B53-B7F0-240D7C10E5B4}" presName="parTxOnlySpace" presStyleCnt="0"/>
      <dgm:spPr/>
    </dgm:pt>
    <dgm:pt modelId="{0E429DD7-6222-43BB-B5D0-F95BF992347A}" type="pres">
      <dgm:prSet presAssocID="{077BBCDF-0A2A-4531-8BBE-D2F833511E50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CA618912-2BDB-4936-B981-E27B3E9C15FE}" srcId="{ABC54E05-BA74-4D66-AAC9-8E0139238EEE}" destId="{CD8C0639-4253-47BE-B20A-3A083191B131}" srcOrd="5" destOrd="0" parTransId="{64C2DE00-A2D5-44C5-9D2E-1666974144D3}" sibTransId="{747F6962-C881-4B53-B7F0-240D7C10E5B4}"/>
    <dgm:cxn modelId="{6124A315-4ACE-41B7-B4D5-7579950ED58F}" srcId="{ABC54E05-BA74-4D66-AAC9-8E0139238EEE}" destId="{F4213349-9B74-4F84-A726-6DCDED54D354}" srcOrd="3" destOrd="0" parTransId="{A8209927-056E-4E19-B6ED-B50F4561A8B8}" sibTransId="{1294F3FF-B0C3-4F34-B596-23A6C0999062}"/>
    <dgm:cxn modelId="{C7806A26-9248-4B89-B761-ACD2D0E4BA9E}" type="presOf" srcId="{ABC54E05-BA74-4D66-AAC9-8E0139238EEE}" destId="{C09D7B68-1263-484A-AE03-8C4A32440D99}" srcOrd="0" destOrd="0" presId="urn:microsoft.com/office/officeart/2005/8/layout/chevron1"/>
    <dgm:cxn modelId="{465A4C43-D92E-48DA-8BDA-C007400C9B5D}" type="presOf" srcId="{903E2F69-B342-480B-9C8A-126A6C087035}" destId="{6A1B2C55-6EE2-40A7-8704-D12E07A85A63}" srcOrd="0" destOrd="0" presId="urn:microsoft.com/office/officeart/2005/8/layout/chevron1"/>
    <dgm:cxn modelId="{E1493D52-AF1E-43FC-B39E-ED340F28AAE4}" type="presOf" srcId="{8D499AF5-0DDB-48E5-91F1-CAECBE3DD29D}" destId="{98738517-B6D2-4A50-A13D-B914B01C51E8}" srcOrd="0" destOrd="0" presId="urn:microsoft.com/office/officeart/2005/8/layout/chevron1"/>
    <dgm:cxn modelId="{A030D856-41C6-4D9B-A5A4-275791A76D38}" srcId="{ABC54E05-BA74-4D66-AAC9-8E0139238EEE}" destId="{8D499AF5-0DDB-48E5-91F1-CAECBE3DD29D}" srcOrd="0" destOrd="0" parTransId="{12D7F4B5-B8A3-4644-A254-333DE0ACFDE9}" sibTransId="{252A8B88-703A-4EFF-B5F3-D73D6F30D627}"/>
    <dgm:cxn modelId="{F318AA93-C74F-48CB-85FB-79D3F49B382D}" srcId="{ABC54E05-BA74-4D66-AAC9-8E0139238EEE}" destId="{70846AC4-60AD-4DF6-836E-80788C5B7DE5}" srcOrd="4" destOrd="0" parTransId="{8D12762C-5428-4FAD-9962-9D43556115B1}" sibTransId="{AA75125F-8C82-4E7F-8183-ED1AC023E526}"/>
    <dgm:cxn modelId="{25435F9D-8857-4466-86D6-82B25B500592}" type="presOf" srcId="{70846AC4-60AD-4DF6-836E-80788C5B7DE5}" destId="{D0FED0E1-99D3-4C6E-A9D7-0B3511C9D1F5}" srcOrd="0" destOrd="0" presId="urn:microsoft.com/office/officeart/2005/8/layout/chevron1"/>
    <dgm:cxn modelId="{84245CB8-76AB-4491-9BEC-29B10AFAE7A7}" type="presOf" srcId="{F4213349-9B74-4F84-A726-6DCDED54D354}" destId="{980C9FE2-0C9E-4642-BA20-7B59D68577B3}" srcOrd="0" destOrd="0" presId="urn:microsoft.com/office/officeart/2005/8/layout/chevron1"/>
    <dgm:cxn modelId="{349C5BC3-81D3-4FD6-BCDF-C041A7A2ADCC}" srcId="{ABC54E05-BA74-4D66-AAC9-8E0139238EEE}" destId="{903E2F69-B342-480B-9C8A-126A6C087035}" srcOrd="1" destOrd="0" parTransId="{7C5FB519-0E2D-449C-B749-BDD58714CEC1}" sibTransId="{170C4637-3441-4B6E-B6FB-1667114E72C6}"/>
    <dgm:cxn modelId="{10F0DCD8-F8BA-464B-9FC0-77CC4398B266}" type="presOf" srcId="{4B9A768F-EF92-414E-A091-50C9528330BC}" destId="{AA81ECE2-3971-461C-BFCD-1F98F994CC6B}" srcOrd="0" destOrd="0" presId="urn:microsoft.com/office/officeart/2005/8/layout/chevron1"/>
    <dgm:cxn modelId="{1A2434E8-6299-43CB-8D1B-7529CAC9F8E5}" type="presOf" srcId="{077BBCDF-0A2A-4531-8BBE-D2F833511E50}" destId="{0E429DD7-6222-43BB-B5D0-F95BF992347A}" srcOrd="0" destOrd="0" presId="urn:microsoft.com/office/officeart/2005/8/layout/chevron1"/>
    <dgm:cxn modelId="{78CF52F3-8369-4744-875D-652ADEA3D296}" type="presOf" srcId="{CD8C0639-4253-47BE-B20A-3A083191B131}" destId="{7D521138-BEDC-4A7E-8A68-747E36965A26}" srcOrd="0" destOrd="0" presId="urn:microsoft.com/office/officeart/2005/8/layout/chevron1"/>
    <dgm:cxn modelId="{58AA81FA-FC22-437D-94BD-46086CF75179}" srcId="{ABC54E05-BA74-4D66-AAC9-8E0139238EEE}" destId="{4B9A768F-EF92-414E-A091-50C9528330BC}" srcOrd="2" destOrd="0" parTransId="{4E232F99-6234-466C-897D-7487BDAFE8CB}" sibTransId="{BD4EF705-48D2-4CF2-9FB8-046576BF2EA5}"/>
    <dgm:cxn modelId="{52F867FC-775C-4855-BB9C-AC8F11682B02}" srcId="{ABC54E05-BA74-4D66-AAC9-8E0139238EEE}" destId="{077BBCDF-0A2A-4531-8BBE-D2F833511E50}" srcOrd="6" destOrd="0" parTransId="{3FE69F5A-8B12-4194-8F77-3233BD1169DF}" sibTransId="{7A467141-AAFD-4CFE-8280-17294E9BB397}"/>
    <dgm:cxn modelId="{5547E6C1-EBE6-417B-86BA-D8ED9F4805DD}" type="presParOf" srcId="{C09D7B68-1263-484A-AE03-8C4A32440D99}" destId="{98738517-B6D2-4A50-A13D-B914B01C51E8}" srcOrd="0" destOrd="0" presId="urn:microsoft.com/office/officeart/2005/8/layout/chevron1"/>
    <dgm:cxn modelId="{F2217091-4B1C-427A-B582-D0A849CCC203}" type="presParOf" srcId="{C09D7B68-1263-484A-AE03-8C4A32440D99}" destId="{1E16A1F2-A033-4A09-A4DF-CD7BFE0845E9}" srcOrd="1" destOrd="0" presId="urn:microsoft.com/office/officeart/2005/8/layout/chevron1"/>
    <dgm:cxn modelId="{DC489AF9-CAE0-490A-A924-14000DF78DD9}" type="presParOf" srcId="{C09D7B68-1263-484A-AE03-8C4A32440D99}" destId="{6A1B2C55-6EE2-40A7-8704-D12E07A85A63}" srcOrd="2" destOrd="0" presId="urn:microsoft.com/office/officeart/2005/8/layout/chevron1"/>
    <dgm:cxn modelId="{2D8FF4FF-089C-4CC9-BF1F-C1B6AEC15632}" type="presParOf" srcId="{C09D7B68-1263-484A-AE03-8C4A32440D99}" destId="{20CCC40D-B50D-4DDA-BFAB-BC701636F235}" srcOrd="3" destOrd="0" presId="urn:microsoft.com/office/officeart/2005/8/layout/chevron1"/>
    <dgm:cxn modelId="{E0E4A6F9-7C5E-4BD1-9DB3-DB00EDC82CD0}" type="presParOf" srcId="{C09D7B68-1263-484A-AE03-8C4A32440D99}" destId="{AA81ECE2-3971-461C-BFCD-1F98F994CC6B}" srcOrd="4" destOrd="0" presId="urn:microsoft.com/office/officeart/2005/8/layout/chevron1"/>
    <dgm:cxn modelId="{5F9ADE05-1469-48BC-BC80-74998E35865E}" type="presParOf" srcId="{C09D7B68-1263-484A-AE03-8C4A32440D99}" destId="{08390DDE-0B9D-4476-A3BD-35E8DAB22A4C}" srcOrd="5" destOrd="0" presId="urn:microsoft.com/office/officeart/2005/8/layout/chevron1"/>
    <dgm:cxn modelId="{E7FAD323-ADF5-4E12-9711-9DAD84B816B3}" type="presParOf" srcId="{C09D7B68-1263-484A-AE03-8C4A32440D99}" destId="{980C9FE2-0C9E-4642-BA20-7B59D68577B3}" srcOrd="6" destOrd="0" presId="urn:microsoft.com/office/officeart/2005/8/layout/chevron1"/>
    <dgm:cxn modelId="{E720926A-C007-44E2-AE8A-6E23A4C38422}" type="presParOf" srcId="{C09D7B68-1263-484A-AE03-8C4A32440D99}" destId="{D03782A4-26B3-469C-93E9-5189EA4E03F6}" srcOrd="7" destOrd="0" presId="urn:microsoft.com/office/officeart/2005/8/layout/chevron1"/>
    <dgm:cxn modelId="{7866B5BB-9BC5-4FEA-B9C9-331B39BC211C}" type="presParOf" srcId="{C09D7B68-1263-484A-AE03-8C4A32440D99}" destId="{D0FED0E1-99D3-4C6E-A9D7-0B3511C9D1F5}" srcOrd="8" destOrd="0" presId="urn:microsoft.com/office/officeart/2005/8/layout/chevron1"/>
    <dgm:cxn modelId="{AF823DE3-9508-4EB7-B999-5A327B030BC2}" type="presParOf" srcId="{C09D7B68-1263-484A-AE03-8C4A32440D99}" destId="{46EB86A6-EAEB-4688-9380-B4F3253F6339}" srcOrd="9" destOrd="0" presId="urn:microsoft.com/office/officeart/2005/8/layout/chevron1"/>
    <dgm:cxn modelId="{A15247E8-0461-4017-9379-E183B8840367}" type="presParOf" srcId="{C09D7B68-1263-484A-AE03-8C4A32440D99}" destId="{7D521138-BEDC-4A7E-8A68-747E36965A26}" srcOrd="10" destOrd="0" presId="urn:microsoft.com/office/officeart/2005/8/layout/chevron1"/>
    <dgm:cxn modelId="{6EB48B17-B1C0-48D3-A8A7-986987A0EBEF}" type="presParOf" srcId="{C09D7B68-1263-484A-AE03-8C4A32440D99}" destId="{96C0C843-AFEF-416C-9BF0-96570B0E6524}" srcOrd="11" destOrd="0" presId="urn:microsoft.com/office/officeart/2005/8/layout/chevron1"/>
    <dgm:cxn modelId="{0EF356AE-1EE0-4497-9095-CCBDBDC2725C}" type="presParOf" srcId="{C09D7B68-1263-484A-AE03-8C4A32440D99}" destId="{0E429DD7-6222-43BB-B5D0-F95BF992347A}" srcOrd="1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493ACC-2947-41FB-BCA6-DA2307B372AA}" type="doc">
      <dgm:prSet loTypeId="urn:microsoft.com/office/officeart/2008/layout/VerticalCurvedList" loCatId="list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BAB2EB69-77BF-4191-AF22-59EE1FD0DEF3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dirty="0">
              <a:latin typeface="Monserrat"/>
            </a:rPr>
            <a:t>Estímulo à sonegação fiscal</a:t>
          </a:r>
          <a:endParaRPr lang="en-US" sz="1400" dirty="0">
            <a:latin typeface="Monserrat"/>
          </a:endParaRPr>
        </a:p>
      </dgm:t>
    </dgm:pt>
    <dgm:pt modelId="{A0C92FC3-79B2-464A-8418-420430AE6FFC}" type="parTrans" cxnId="{5312B6FD-7B7C-40B0-AC47-89E5C2713038}">
      <dgm:prSet/>
      <dgm:spPr/>
      <dgm:t>
        <a:bodyPr/>
        <a:lstStyle/>
        <a:p>
          <a:endParaRPr lang="en-US" sz="1200"/>
        </a:p>
      </dgm:t>
    </dgm:pt>
    <dgm:pt modelId="{6F3FE560-6391-4A0D-9420-5323FBA323B0}" type="sibTrans" cxnId="{5312B6FD-7B7C-40B0-AC47-89E5C2713038}">
      <dgm:prSet/>
      <dgm:spPr/>
      <dgm:t>
        <a:bodyPr/>
        <a:lstStyle/>
        <a:p>
          <a:endParaRPr lang="en-US" sz="1200"/>
        </a:p>
      </dgm:t>
    </dgm:pt>
    <dgm:pt modelId="{CE0CAC46-4E39-4967-9C15-83BFDAD8FF13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dirty="0">
              <a:latin typeface="Monserrat"/>
            </a:rPr>
            <a:t>Ausência </a:t>
          </a:r>
          <a:r>
            <a:rPr lang="pt-BR" sz="1400" noProof="0" dirty="0">
              <a:latin typeface="Monserrat"/>
            </a:rPr>
            <a:t>de clareza</a:t>
          </a:r>
        </a:p>
      </dgm:t>
    </dgm:pt>
    <dgm:pt modelId="{3FF82D31-25F7-444B-A479-BE1691957A15}" type="parTrans" cxnId="{DDAB27C8-EFA5-42B8-AA69-C596FA3FAD0B}">
      <dgm:prSet/>
      <dgm:spPr/>
      <dgm:t>
        <a:bodyPr/>
        <a:lstStyle/>
        <a:p>
          <a:endParaRPr lang="en-US" sz="1200"/>
        </a:p>
      </dgm:t>
    </dgm:pt>
    <dgm:pt modelId="{35187B62-1DD2-455C-9E88-4CA1D35594CB}" type="sibTrans" cxnId="{DDAB27C8-EFA5-42B8-AA69-C596FA3FAD0B}">
      <dgm:prSet/>
      <dgm:spPr/>
      <dgm:t>
        <a:bodyPr/>
        <a:lstStyle/>
        <a:p>
          <a:endParaRPr lang="en-US" sz="1200"/>
        </a:p>
      </dgm:t>
    </dgm:pt>
    <dgm:pt modelId="{076BE589-C48A-45C0-BA66-7D4BB437B83A}">
      <dgm:prSet phldrT="[Texto]" custT="1"/>
      <dgm:spPr/>
      <dgm:t>
        <a:bodyPr/>
        <a:lstStyle/>
        <a:p>
          <a:r>
            <a:rPr lang="pt-BR" sz="1400" noProof="0" dirty="0">
              <a:latin typeface="Monserrat"/>
            </a:rPr>
            <a:t>Insegurança Jurídica</a:t>
          </a:r>
        </a:p>
      </dgm:t>
    </dgm:pt>
    <dgm:pt modelId="{727B1B05-32AD-490D-9BC9-D1E8F2D862A3}" type="parTrans" cxnId="{9F929509-F8F0-46E5-962C-7DDFFC1E767A}">
      <dgm:prSet/>
      <dgm:spPr/>
      <dgm:t>
        <a:bodyPr/>
        <a:lstStyle/>
        <a:p>
          <a:endParaRPr lang="en-US" sz="1200"/>
        </a:p>
      </dgm:t>
    </dgm:pt>
    <dgm:pt modelId="{5DC98724-DA25-4E57-A231-DBCC304EA042}" type="sibTrans" cxnId="{9F929509-F8F0-46E5-962C-7DDFFC1E767A}">
      <dgm:prSet/>
      <dgm:spPr/>
      <dgm:t>
        <a:bodyPr/>
        <a:lstStyle/>
        <a:p>
          <a:endParaRPr lang="en-US" sz="1200"/>
        </a:p>
      </dgm:t>
    </dgm:pt>
    <dgm:pt modelId="{955C2FC5-8C9F-4506-AC47-BA5EB01D8931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dirty="0">
              <a:latin typeface="Monserrat"/>
            </a:rPr>
            <a:t>Ambiente litigioso</a:t>
          </a:r>
          <a:endParaRPr lang="en-US" sz="1400" dirty="0">
            <a:latin typeface="Monserrat"/>
          </a:endParaRPr>
        </a:p>
      </dgm:t>
    </dgm:pt>
    <dgm:pt modelId="{B993EECD-A36B-4A91-A776-03A8FABD4489}" type="parTrans" cxnId="{A6B52F8F-B80F-4E97-BB2D-664C384951CE}">
      <dgm:prSet/>
      <dgm:spPr/>
      <dgm:t>
        <a:bodyPr/>
        <a:lstStyle/>
        <a:p>
          <a:endParaRPr lang="en-US" sz="1200"/>
        </a:p>
      </dgm:t>
    </dgm:pt>
    <dgm:pt modelId="{0C80EC61-6AA6-4FDF-812E-4DB4A7B53FFE}" type="sibTrans" cxnId="{A6B52F8F-B80F-4E97-BB2D-664C384951CE}">
      <dgm:prSet/>
      <dgm:spPr/>
      <dgm:t>
        <a:bodyPr/>
        <a:lstStyle/>
        <a:p>
          <a:endParaRPr lang="en-US" sz="1200"/>
        </a:p>
      </dgm:t>
    </dgm:pt>
    <dgm:pt modelId="{8DE92147-FB21-41C3-8514-106F01F1C47B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dirty="0">
              <a:latin typeface="Monserrat"/>
            </a:rPr>
            <a:t>Sobreposição de obrigações acessórias</a:t>
          </a:r>
          <a:endParaRPr lang="en-US" sz="1400" dirty="0">
            <a:latin typeface="Monserrat"/>
          </a:endParaRPr>
        </a:p>
      </dgm:t>
    </dgm:pt>
    <dgm:pt modelId="{149B646B-6259-4476-900B-2617EBFA44D0}" type="parTrans" cxnId="{85E3E1C4-003C-4A29-8724-BD256D7FE43A}">
      <dgm:prSet/>
      <dgm:spPr/>
      <dgm:t>
        <a:bodyPr/>
        <a:lstStyle/>
        <a:p>
          <a:endParaRPr lang="pt-BR"/>
        </a:p>
      </dgm:t>
    </dgm:pt>
    <dgm:pt modelId="{0AD05AB6-A56C-430C-8829-CBEB562D9AA3}" type="sibTrans" cxnId="{85E3E1C4-003C-4A29-8724-BD256D7FE43A}">
      <dgm:prSet/>
      <dgm:spPr/>
      <dgm:t>
        <a:bodyPr/>
        <a:lstStyle/>
        <a:p>
          <a:endParaRPr lang="pt-BR"/>
        </a:p>
      </dgm:t>
    </dgm:pt>
    <dgm:pt modelId="{1C306398-A594-4126-8131-5022F8E66946}">
      <dgm:prSet phldrT="[Texto]" custT="1"/>
      <dgm:spPr/>
      <dgm:t>
        <a:bodyPr/>
        <a:lstStyle/>
        <a:p>
          <a:r>
            <a:rPr lang="en-US" sz="1400" dirty="0">
              <a:latin typeface="Monserrat"/>
            </a:rPr>
            <a:t>Contencioso fiscal</a:t>
          </a:r>
        </a:p>
      </dgm:t>
    </dgm:pt>
    <dgm:pt modelId="{DC31B332-4A27-49A3-86ED-0E91F918EFEE}" type="parTrans" cxnId="{789F0E92-63AC-427B-9ABA-FC66E944A823}">
      <dgm:prSet/>
      <dgm:spPr/>
      <dgm:t>
        <a:bodyPr/>
        <a:lstStyle/>
        <a:p>
          <a:endParaRPr lang="pt-BR"/>
        </a:p>
      </dgm:t>
    </dgm:pt>
    <dgm:pt modelId="{6BECF221-67BB-4871-BB55-811D60947CAD}" type="sibTrans" cxnId="{789F0E92-63AC-427B-9ABA-FC66E944A823}">
      <dgm:prSet/>
      <dgm:spPr/>
      <dgm:t>
        <a:bodyPr/>
        <a:lstStyle/>
        <a:p>
          <a:endParaRPr lang="pt-BR"/>
        </a:p>
      </dgm:t>
    </dgm:pt>
    <dgm:pt modelId="{2B5BEDE1-BE23-44B7-A064-49C718727C6B}" type="pres">
      <dgm:prSet presAssocID="{7E493ACC-2947-41FB-BCA6-DA2307B372AA}" presName="Name0" presStyleCnt="0">
        <dgm:presLayoutVars>
          <dgm:chMax val="7"/>
          <dgm:chPref val="7"/>
          <dgm:dir/>
        </dgm:presLayoutVars>
      </dgm:prSet>
      <dgm:spPr/>
    </dgm:pt>
    <dgm:pt modelId="{2CBFD036-C08D-4B3E-BC6E-A892348C8A63}" type="pres">
      <dgm:prSet presAssocID="{7E493ACC-2947-41FB-BCA6-DA2307B372AA}" presName="Name1" presStyleCnt="0"/>
      <dgm:spPr/>
    </dgm:pt>
    <dgm:pt modelId="{F7C42805-B985-4B05-8516-49C208DCE181}" type="pres">
      <dgm:prSet presAssocID="{7E493ACC-2947-41FB-BCA6-DA2307B372AA}" presName="cycle" presStyleCnt="0"/>
      <dgm:spPr/>
    </dgm:pt>
    <dgm:pt modelId="{B4561441-4881-4D9F-BB96-593129FE0695}" type="pres">
      <dgm:prSet presAssocID="{7E493ACC-2947-41FB-BCA6-DA2307B372AA}" presName="srcNode" presStyleLbl="node1" presStyleIdx="0" presStyleCnt="6"/>
      <dgm:spPr/>
    </dgm:pt>
    <dgm:pt modelId="{0A79E03A-B4E4-495A-B60E-F64FDD34359B}" type="pres">
      <dgm:prSet presAssocID="{7E493ACC-2947-41FB-BCA6-DA2307B372AA}" presName="conn" presStyleLbl="parChTrans1D2" presStyleIdx="0" presStyleCnt="1"/>
      <dgm:spPr/>
    </dgm:pt>
    <dgm:pt modelId="{9C682980-B7FC-43A4-AB72-82D2A58A2807}" type="pres">
      <dgm:prSet presAssocID="{7E493ACC-2947-41FB-BCA6-DA2307B372AA}" presName="extraNode" presStyleLbl="node1" presStyleIdx="0" presStyleCnt="6"/>
      <dgm:spPr/>
    </dgm:pt>
    <dgm:pt modelId="{E7B70463-DAE7-4269-878A-C36838B89F47}" type="pres">
      <dgm:prSet presAssocID="{7E493ACC-2947-41FB-BCA6-DA2307B372AA}" presName="dstNode" presStyleLbl="node1" presStyleIdx="0" presStyleCnt="6"/>
      <dgm:spPr/>
    </dgm:pt>
    <dgm:pt modelId="{A5051525-68DA-4EAA-B6FD-7CDB0F0388EC}" type="pres">
      <dgm:prSet presAssocID="{955C2FC5-8C9F-4506-AC47-BA5EB01D8931}" presName="text_1" presStyleLbl="node1" presStyleIdx="0" presStyleCnt="6">
        <dgm:presLayoutVars>
          <dgm:bulletEnabled val="1"/>
        </dgm:presLayoutVars>
      </dgm:prSet>
      <dgm:spPr/>
    </dgm:pt>
    <dgm:pt modelId="{3D4317E2-88B4-4ACD-A0FC-039A59A6824E}" type="pres">
      <dgm:prSet presAssocID="{955C2FC5-8C9F-4506-AC47-BA5EB01D8931}" presName="accent_1" presStyleCnt="0"/>
      <dgm:spPr/>
    </dgm:pt>
    <dgm:pt modelId="{10741F17-E9B1-43D2-BB1E-72E05C15E622}" type="pres">
      <dgm:prSet presAssocID="{955C2FC5-8C9F-4506-AC47-BA5EB01D8931}" presName="accentRepeatNode" presStyleLbl="solidFgAcc1" presStyleIdx="0" presStyleCnt="6"/>
      <dgm:spPr/>
    </dgm:pt>
    <dgm:pt modelId="{214B9AE1-3D96-4A23-9CF8-1F92100A75E9}" type="pres">
      <dgm:prSet presAssocID="{BAB2EB69-77BF-4191-AF22-59EE1FD0DEF3}" presName="text_2" presStyleLbl="node1" presStyleIdx="1" presStyleCnt="6">
        <dgm:presLayoutVars>
          <dgm:bulletEnabled val="1"/>
        </dgm:presLayoutVars>
      </dgm:prSet>
      <dgm:spPr/>
    </dgm:pt>
    <dgm:pt modelId="{1BDC6FCE-4146-4BEB-B1FD-60BE71317925}" type="pres">
      <dgm:prSet presAssocID="{BAB2EB69-77BF-4191-AF22-59EE1FD0DEF3}" presName="accent_2" presStyleCnt="0"/>
      <dgm:spPr/>
    </dgm:pt>
    <dgm:pt modelId="{0FE69EBC-B046-45ED-8251-A6FACBCA8C01}" type="pres">
      <dgm:prSet presAssocID="{BAB2EB69-77BF-4191-AF22-59EE1FD0DEF3}" presName="accentRepeatNode" presStyleLbl="solidFgAcc1" presStyleIdx="1" presStyleCnt="6"/>
      <dgm:spPr/>
    </dgm:pt>
    <dgm:pt modelId="{E92D8102-CDF0-480A-8787-9AE2F6FA5521}" type="pres">
      <dgm:prSet presAssocID="{8DE92147-FB21-41C3-8514-106F01F1C47B}" presName="text_3" presStyleLbl="node1" presStyleIdx="2" presStyleCnt="6">
        <dgm:presLayoutVars>
          <dgm:bulletEnabled val="1"/>
        </dgm:presLayoutVars>
      </dgm:prSet>
      <dgm:spPr/>
    </dgm:pt>
    <dgm:pt modelId="{4D88BB71-D27A-4DC2-800C-281203F4DDF5}" type="pres">
      <dgm:prSet presAssocID="{8DE92147-FB21-41C3-8514-106F01F1C47B}" presName="accent_3" presStyleCnt="0"/>
      <dgm:spPr/>
    </dgm:pt>
    <dgm:pt modelId="{7C2BD5DC-1309-4594-9FC9-F9EB106EF977}" type="pres">
      <dgm:prSet presAssocID="{8DE92147-FB21-41C3-8514-106F01F1C47B}" presName="accentRepeatNode" presStyleLbl="solidFgAcc1" presStyleIdx="2" presStyleCnt="6"/>
      <dgm:spPr/>
    </dgm:pt>
    <dgm:pt modelId="{4DA2BDE0-1C95-4FA7-BCB0-FBCDD43B3F2C}" type="pres">
      <dgm:prSet presAssocID="{CE0CAC46-4E39-4967-9C15-83BFDAD8FF13}" presName="text_4" presStyleLbl="node1" presStyleIdx="3" presStyleCnt="6">
        <dgm:presLayoutVars>
          <dgm:bulletEnabled val="1"/>
        </dgm:presLayoutVars>
      </dgm:prSet>
      <dgm:spPr/>
    </dgm:pt>
    <dgm:pt modelId="{43460F95-F153-4A26-A0D7-9AB71F7D6AF2}" type="pres">
      <dgm:prSet presAssocID="{CE0CAC46-4E39-4967-9C15-83BFDAD8FF13}" presName="accent_4" presStyleCnt="0"/>
      <dgm:spPr/>
    </dgm:pt>
    <dgm:pt modelId="{6DED914C-3791-4F78-9C96-250018F05455}" type="pres">
      <dgm:prSet presAssocID="{CE0CAC46-4E39-4967-9C15-83BFDAD8FF13}" presName="accentRepeatNode" presStyleLbl="solidFgAcc1" presStyleIdx="3" presStyleCnt="6"/>
      <dgm:spPr/>
    </dgm:pt>
    <dgm:pt modelId="{A003AB33-BC5C-405E-BB65-CE0E9149AD79}" type="pres">
      <dgm:prSet presAssocID="{076BE589-C48A-45C0-BA66-7D4BB437B83A}" presName="text_5" presStyleLbl="node1" presStyleIdx="4" presStyleCnt="6">
        <dgm:presLayoutVars>
          <dgm:bulletEnabled val="1"/>
        </dgm:presLayoutVars>
      </dgm:prSet>
      <dgm:spPr/>
    </dgm:pt>
    <dgm:pt modelId="{9D6C3720-AC40-4135-9ED1-4CFFE55E5B5F}" type="pres">
      <dgm:prSet presAssocID="{076BE589-C48A-45C0-BA66-7D4BB437B83A}" presName="accent_5" presStyleCnt="0"/>
      <dgm:spPr/>
    </dgm:pt>
    <dgm:pt modelId="{E47FED6D-6AB6-4DFE-AB35-CCA9FCEF9991}" type="pres">
      <dgm:prSet presAssocID="{076BE589-C48A-45C0-BA66-7D4BB437B83A}" presName="accentRepeatNode" presStyleLbl="solidFgAcc1" presStyleIdx="4" presStyleCnt="6"/>
      <dgm:spPr/>
    </dgm:pt>
    <dgm:pt modelId="{4E3D0C94-0FED-428B-80AE-CFD48C87365B}" type="pres">
      <dgm:prSet presAssocID="{1C306398-A594-4126-8131-5022F8E66946}" presName="text_6" presStyleLbl="node1" presStyleIdx="5" presStyleCnt="6">
        <dgm:presLayoutVars>
          <dgm:bulletEnabled val="1"/>
        </dgm:presLayoutVars>
      </dgm:prSet>
      <dgm:spPr/>
    </dgm:pt>
    <dgm:pt modelId="{973EB6B0-14B8-47F0-88F8-538B0A1BF1E6}" type="pres">
      <dgm:prSet presAssocID="{1C306398-A594-4126-8131-5022F8E66946}" presName="accent_6" presStyleCnt="0"/>
      <dgm:spPr/>
    </dgm:pt>
    <dgm:pt modelId="{8FF8A12A-2C46-4271-B728-79B06AC6499B}" type="pres">
      <dgm:prSet presAssocID="{1C306398-A594-4126-8131-5022F8E66946}" presName="accentRepeatNode" presStyleLbl="solidFgAcc1" presStyleIdx="5" presStyleCnt="6"/>
      <dgm:spPr/>
    </dgm:pt>
  </dgm:ptLst>
  <dgm:cxnLst>
    <dgm:cxn modelId="{9F929509-F8F0-46E5-962C-7DDFFC1E767A}" srcId="{7E493ACC-2947-41FB-BCA6-DA2307B372AA}" destId="{076BE589-C48A-45C0-BA66-7D4BB437B83A}" srcOrd="4" destOrd="0" parTransId="{727B1B05-32AD-490D-9BC9-D1E8F2D862A3}" sibTransId="{5DC98724-DA25-4E57-A231-DBCC304EA042}"/>
    <dgm:cxn modelId="{119A203B-44ED-4483-8D0B-4288A4152229}" type="presOf" srcId="{076BE589-C48A-45C0-BA66-7D4BB437B83A}" destId="{A003AB33-BC5C-405E-BB65-CE0E9149AD79}" srcOrd="0" destOrd="0" presId="urn:microsoft.com/office/officeart/2008/layout/VerticalCurvedList"/>
    <dgm:cxn modelId="{6676B73F-139F-4C28-AC67-7082AF3B79F6}" type="presOf" srcId="{CE0CAC46-4E39-4967-9C15-83BFDAD8FF13}" destId="{4DA2BDE0-1C95-4FA7-BCB0-FBCDD43B3F2C}" srcOrd="0" destOrd="0" presId="urn:microsoft.com/office/officeart/2008/layout/VerticalCurvedList"/>
    <dgm:cxn modelId="{93B2D95B-6D4D-45E5-89C4-0DF66824962B}" type="presOf" srcId="{0C80EC61-6AA6-4FDF-812E-4DB4A7B53FFE}" destId="{0A79E03A-B4E4-495A-B60E-F64FDD34359B}" srcOrd="0" destOrd="0" presId="urn:microsoft.com/office/officeart/2008/layout/VerticalCurvedList"/>
    <dgm:cxn modelId="{F978AA63-0B2B-4643-9E2A-55EF1CE23D40}" type="presOf" srcId="{7E493ACC-2947-41FB-BCA6-DA2307B372AA}" destId="{2B5BEDE1-BE23-44B7-A064-49C718727C6B}" srcOrd="0" destOrd="0" presId="urn:microsoft.com/office/officeart/2008/layout/VerticalCurvedList"/>
    <dgm:cxn modelId="{6E79A06E-F6C2-4B14-A015-378D1ACB1E6D}" type="presOf" srcId="{955C2FC5-8C9F-4506-AC47-BA5EB01D8931}" destId="{A5051525-68DA-4EAA-B6FD-7CDB0F0388EC}" srcOrd="0" destOrd="0" presId="urn:microsoft.com/office/officeart/2008/layout/VerticalCurvedList"/>
    <dgm:cxn modelId="{E323867D-F660-48C0-9DB4-CFBF56458B7F}" type="presOf" srcId="{8DE92147-FB21-41C3-8514-106F01F1C47B}" destId="{E92D8102-CDF0-480A-8787-9AE2F6FA5521}" srcOrd="0" destOrd="0" presId="urn:microsoft.com/office/officeart/2008/layout/VerticalCurvedList"/>
    <dgm:cxn modelId="{A6B52F8F-B80F-4E97-BB2D-664C384951CE}" srcId="{7E493ACC-2947-41FB-BCA6-DA2307B372AA}" destId="{955C2FC5-8C9F-4506-AC47-BA5EB01D8931}" srcOrd="0" destOrd="0" parTransId="{B993EECD-A36B-4A91-A776-03A8FABD4489}" sibTransId="{0C80EC61-6AA6-4FDF-812E-4DB4A7B53FFE}"/>
    <dgm:cxn modelId="{789F0E92-63AC-427B-9ABA-FC66E944A823}" srcId="{7E493ACC-2947-41FB-BCA6-DA2307B372AA}" destId="{1C306398-A594-4126-8131-5022F8E66946}" srcOrd="5" destOrd="0" parTransId="{DC31B332-4A27-49A3-86ED-0E91F918EFEE}" sibTransId="{6BECF221-67BB-4871-BB55-811D60947CAD}"/>
    <dgm:cxn modelId="{85E3E1C4-003C-4A29-8724-BD256D7FE43A}" srcId="{7E493ACC-2947-41FB-BCA6-DA2307B372AA}" destId="{8DE92147-FB21-41C3-8514-106F01F1C47B}" srcOrd="2" destOrd="0" parTransId="{149B646B-6259-4476-900B-2617EBFA44D0}" sibTransId="{0AD05AB6-A56C-430C-8829-CBEB562D9AA3}"/>
    <dgm:cxn modelId="{DDAB27C8-EFA5-42B8-AA69-C596FA3FAD0B}" srcId="{7E493ACC-2947-41FB-BCA6-DA2307B372AA}" destId="{CE0CAC46-4E39-4967-9C15-83BFDAD8FF13}" srcOrd="3" destOrd="0" parTransId="{3FF82D31-25F7-444B-A479-BE1691957A15}" sibTransId="{35187B62-1DD2-455C-9E88-4CA1D35594CB}"/>
    <dgm:cxn modelId="{2C6151D5-B87F-4AA5-B492-6FFDE2C4396A}" type="presOf" srcId="{BAB2EB69-77BF-4191-AF22-59EE1FD0DEF3}" destId="{214B9AE1-3D96-4A23-9CF8-1F92100A75E9}" srcOrd="0" destOrd="0" presId="urn:microsoft.com/office/officeart/2008/layout/VerticalCurvedList"/>
    <dgm:cxn modelId="{D35B98EB-D861-4BE6-9332-189B6138A426}" type="presOf" srcId="{1C306398-A594-4126-8131-5022F8E66946}" destId="{4E3D0C94-0FED-428B-80AE-CFD48C87365B}" srcOrd="0" destOrd="0" presId="urn:microsoft.com/office/officeart/2008/layout/VerticalCurvedList"/>
    <dgm:cxn modelId="{5312B6FD-7B7C-40B0-AC47-89E5C2713038}" srcId="{7E493ACC-2947-41FB-BCA6-DA2307B372AA}" destId="{BAB2EB69-77BF-4191-AF22-59EE1FD0DEF3}" srcOrd="1" destOrd="0" parTransId="{A0C92FC3-79B2-464A-8418-420430AE6FFC}" sibTransId="{6F3FE560-6391-4A0D-9420-5323FBA323B0}"/>
    <dgm:cxn modelId="{2A6A3045-2111-4EE8-A153-AFCEF0B51C02}" type="presParOf" srcId="{2B5BEDE1-BE23-44B7-A064-49C718727C6B}" destId="{2CBFD036-C08D-4B3E-BC6E-A892348C8A63}" srcOrd="0" destOrd="0" presId="urn:microsoft.com/office/officeart/2008/layout/VerticalCurvedList"/>
    <dgm:cxn modelId="{13F59793-5CB9-47FE-8AFA-A0B57815DF51}" type="presParOf" srcId="{2CBFD036-C08D-4B3E-BC6E-A892348C8A63}" destId="{F7C42805-B985-4B05-8516-49C208DCE181}" srcOrd="0" destOrd="0" presId="urn:microsoft.com/office/officeart/2008/layout/VerticalCurvedList"/>
    <dgm:cxn modelId="{B99D5D6B-AB1B-434E-9B05-18DD4B874626}" type="presParOf" srcId="{F7C42805-B985-4B05-8516-49C208DCE181}" destId="{B4561441-4881-4D9F-BB96-593129FE0695}" srcOrd="0" destOrd="0" presId="urn:microsoft.com/office/officeart/2008/layout/VerticalCurvedList"/>
    <dgm:cxn modelId="{ACB32E55-FE9D-4FF6-95F3-4ECE6244D4C8}" type="presParOf" srcId="{F7C42805-B985-4B05-8516-49C208DCE181}" destId="{0A79E03A-B4E4-495A-B60E-F64FDD34359B}" srcOrd="1" destOrd="0" presId="urn:microsoft.com/office/officeart/2008/layout/VerticalCurvedList"/>
    <dgm:cxn modelId="{5786728B-AC29-419E-A7E1-9DBED540ED8E}" type="presParOf" srcId="{F7C42805-B985-4B05-8516-49C208DCE181}" destId="{9C682980-B7FC-43A4-AB72-82D2A58A2807}" srcOrd="2" destOrd="0" presId="urn:microsoft.com/office/officeart/2008/layout/VerticalCurvedList"/>
    <dgm:cxn modelId="{27EE69A9-3F2F-4F60-B932-605B044ED2B1}" type="presParOf" srcId="{F7C42805-B985-4B05-8516-49C208DCE181}" destId="{E7B70463-DAE7-4269-878A-C36838B89F47}" srcOrd="3" destOrd="0" presId="urn:microsoft.com/office/officeart/2008/layout/VerticalCurvedList"/>
    <dgm:cxn modelId="{C818E5C4-3293-4137-870D-B65F4A18372D}" type="presParOf" srcId="{2CBFD036-C08D-4B3E-BC6E-A892348C8A63}" destId="{A5051525-68DA-4EAA-B6FD-7CDB0F0388EC}" srcOrd="1" destOrd="0" presId="urn:microsoft.com/office/officeart/2008/layout/VerticalCurvedList"/>
    <dgm:cxn modelId="{DF7E0A15-9096-4B56-8115-CB229543235E}" type="presParOf" srcId="{2CBFD036-C08D-4B3E-BC6E-A892348C8A63}" destId="{3D4317E2-88B4-4ACD-A0FC-039A59A6824E}" srcOrd="2" destOrd="0" presId="urn:microsoft.com/office/officeart/2008/layout/VerticalCurvedList"/>
    <dgm:cxn modelId="{747E04EE-C91A-4396-8C4A-1097A6DB93B3}" type="presParOf" srcId="{3D4317E2-88B4-4ACD-A0FC-039A59A6824E}" destId="{10741F17-E9B1-43D2-BB1E-72E05C15E622}" srcOrd="0" destOrd="0" presId="urn:microsoft.com/office/officeart/2008/layout/VerticalCurvedList"/>
    <dgm:cxn modelId="{66355970-A6EB-477A-ABD1-88B6AA78ABC5}" type="presParOf" srcId="{2CBFD036-C08D-4B3E-BC6E-A892348C8A63}" destId="{214B9AE1-3D96-4A23-9CF8-1F92100A75E9}" srcOrd="3" destOrd="0" presId="urn:microsoft.com/office/officeart/2008/layout/VerticalCurvedList"/>
    <dgm:cxn modelId="{74BA7BA0-2440-4D9E-9AB5-86F065309891}" type="presParOf" srcId="{2CBFD036-C08D-4B3E-BC6E-A892348C8A63}" destId="{1BDC6FCE-4146-4BEB-B1FD-60BE71317925}" srcOrd="4" destOrd="0" presId="urn:microsoft.com/office/officeart/2008/layout/VerticalCurvedList"/>
    <dgm:cxn modelId="{B4AE3BFD-EE28-472E-BE70-15BEB013DEFE}" type="presParOf" srcId="{1BDC6FCE-4146-4BEB-B1FD-60BE71317925}" destId="{0FE69EBC-B046-45ED-8251-A6FACBCA8C01}" srcOrd="0" destOrd="0" presId="urn:microsoft.com/office/officeart/2008/layout/VerticalCurvedList"/>
    <dgm:cxn modelId="{49A9B5E9-9359-4BED-957A-4C5D73C1DBA6}" type="presParOf" srcId="{2CBFD036-C08D-4B3E-BC6E-A892348C8A63}" destId="{E92D8102-CDF0-480A-8787-9AE2F6FA5521}" srcOrd="5" destOrd="0" presId="urn:microsoft.com/office/officeart/2008/layout/VerticalCurvedList"/>
    <dgm:cxn modelId="{2742E3C3-B64D-4539-8617-6C2B8A2E3583}" type="presParOf" srcId="{2CBFD036-C08D-4B3E-BC6E-A892348C8A63}" destId="{4D88BB71-D27A-4DC2-800C-281203F4DDF5}" srcOrd="6" destOrd="0" presId="urn:microsoft.com/office/officeart/2008/layout/VerticalCurvedList"/>
    <dgm:cxn modelId="{D3BF5133-3B63-45CE-99F6-9D3AD3F2DB9C}" type="presParOf" srcId="{4D88BB71-D27A-4DC2-800C-281203F4DDF5}" destId="{7C2BD5DC-1309-4594-9FC9-F9EB106EF977}" srcOrd="0" destOrd="0" presId="urn:microsoft.com/office/officeart/2008/layout/VerticalCurvedList"/>
    <dgm:cxn modelId="{6DF08E30-BD53-4902-83FA-59C176589939}" type="presParOf" srcId="{2CBFD036-C08D-4B3E-BC6E-A892348C8A63}" destId="{4DA2BDE0-1C95-4FA7-BCB0-FBCDD43B3F2C}" srcOrd="7" destOrd="0" presId="urn:microsoft.com/office/officeart/2008/layout/VerticalCurvedList"/>
    <dgm:cxn modelId="{57B08B3A-BBAF-489B-8D86-5348619DA750}" type="presParOf" srcId="{2CBFD036-C08D-4B3E-BC6E-A892348C8A63}" destId="{43460F95-F153-4A26-A0D7-9AB71F7D6AF2}" srcOrd="8" destOrd="0" presId="urn:microsoft.com/office/officeart/2008/layout/VerticalCurvedList"/>
    <dgm:cxn modelId="{CB8771C8-C3F7-4CC0-879E-8459B6564DF3}" type="presParOf" srcId="{43460F95-F153-4A26-A0D7-9AB71F7D6AF2}" destId="{6DED914C-3791-4F78-9C96-250018F05455}" srcOrd="0" destOrd="0" presId="urn:microsoft.com/office/officeart/2008/layout/VerticalCurvedList"/>
    <dgm:cxn modelId="{A6B4B103-03C6-4A60-9788-50C7F70C9E62}" type="presParOf" srcId="{2CBFD036-C08D-4B3E-BC6E-A892348C8A63}" destId="{A003AB33-BC5C-405E-BB65-CE0E9149AD79}" srcOrd="9" destOrd="0" presId="urn:microsoft.com/office/officeart/2008/layout/VerticalCurvedList"/>
    <dgm:cxn modelId="{211B28EB-4AA0-4113-935A-73357F62AEB1}" type="presParOf" srcId="{2CBFD036-C08D-4B3E-BC6E-A892348C8A63}" destId="{9D6C3720-AC40-4135-9ED1-4CFFE55E5B5F}" srcOrd="10" destOrd="0" presId="urn:microsoft.com/office/officeart/2008/layout/VerticalCurvedList"/>
    <dgm:cxn modelId="{EEDC2115-5971-4485-AED6-26A6CA6A9EB4}" type="presParOf" srcId="{9D6C3720-AC40-4135-9ED1-4CFFE55E5B5F}" destId="{E47FED6D-6AB6-4DFE-AB35-CCA9FCEF9991}" srcOrd="0" destOrd="0" presId="urn:microsoft.com/office/officeart/2008/layout/VerticalCurvedList"/>
    <dgm:cxn modelId="{002F9179-1613-445C-85D1-B400FB15CED0}" type="presParOf" srcId="{2CBFD036-C08D-4B3E-BC6E-A892348C8A63}" destId="{4E3D0C94-0FED-428B-80AE-CFD48C87365B}" srcOrd="11" destOrd="0" presId="urn:microsoft.com/office/officeart/2008/layout/VerticalCurvedList"/>
    <dgm:cxn modelId="{8BA0AA20-77CB-45A0-8336-17DABDD7DF04}" type="presParOf" srcId="{2CBFD036-C08D-4B3E-BC6E-A892348C8A63}" destId="{973EB6B0-14B8-47F0-88F8-538B0A1BF1E6}" srcOrd="12" destOrd="0" presId="urn:microsoft.com/office/officeart/2008/layout/VerticalCurvedList"/>
    <dgm:cxn modelId="{BC311C7D-C25E-4E8B-904C-F6F85EA4FE32}" type="presParOf" srcId="{973EB6B0-14B8-47F0-88F8-538B0A1BF1E6}" destId="{8FF8A12A-2C46-4271-B728-79B06AC6499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E493ACC-2947-41FB-BCA6-DA2307B372AA}" type="doc">
      <dgm:prSet loTypeId="urn:microsoft.com/office/officeart/2008/layout/VerticalCurvedList" loCatId="list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BAB2EB69-77BF-4191-AF22-59EE1FD0DEF3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dirty="0">
              <a:latin typeface="Monserrat"/>
            </a:rPr>
            <a:t>Melhoria na relação fisco-contribuinte</a:t>
          </a:r>
          <a:endParaRPr lang="en-US" sz="1400" dirty="0">
            <a:latin typeface="Monserrat"/>
          </a:endParaRPr>
        </a:p>
      </dgm:t>
    </dgm:pt>
    <dgm:pt modelId="{A0C92FC3-79B2-464A-8418-420430AE6FFC}" type="parTrans" cxnId="{5312B6FD-7B7C-40B0-AC47-89E5C2713038}">
      <dgm:prSet/>
      <dgm:spPr/>
      <dgm:t>
        <a:bodyPr/>
        <a:lstStyle/>
        <a:p>
          <a:endParaRPr lang="en-US" sz="1200"/>
        </a:p>
      </dgm:t>
    </dgm:pt>
    <dgm:pt modelId="{6F3FE560-6391-4A0D-9420-5323FBA323B0}" type="sibTrans" cxnId="{5312B6FD-7B7C-40B0-AC47-89E5C2713038}">
      <dgm:prSet/>
      <dgm:spPr/>
      <dgm:t>
        <a:bodyPr/>
        <a:lstStyle/>
        <a:p>
          <a:endParaRPr lang="en-US" sz="1200"/>
        </a:p>
      </dgm:t>
    </dgm:pt>
    <dgm:pt modelId="{CE0CAC46-4E39-4967-9C15-83BFDAD8FF13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dirty="0">
              <a:latin typeface="Monserrat"/>
            </a:rPr>
            <a:t>Simplificação das obrigações tributárias</a:t>
          </a:r>
          <a:endParaRPr lang="en-US" sz="1400" dirty="0">
            <a:latin typeface="Monserrat"/>
          </a:endParaRPr>
        </a:p>
      </dgm:t>
    </dgm:pt>
    <dgm:pt modelId="{3FF82D31-25F7-444B-A479-BE1691957A15}" type="parTrans" cxnId="{DDAB27C8-EFA5-42B8-AA69-C596FA3FAD0B}">
      <dgm:prSet/>
      <dgm:spPr/>
      <dgm:t>
        <a:bodyPr/>
        <a:lstStyle/>
        <a:p>
          <a:endParaRPr lang="en-US" sz="1200"/>
        </a:p>
      </dgm:t>
    </dgm:pt>
    <dgm:pt modelId="{35187B62-1DD2-455C-9E88-4CA1D35594CB}" type="sibTrans" cxnId="{DDAB27C8-EFA5-42B8-AA69-C596FA3FAD0B}">
      <dgm:prSet/>
      <dgm:spPr/>
      <dgm:t>
        <a:bodyPr/>
        <a:lstStyle/>
        <a:p>
          <a:endParaRPr lang="en-US" sz="1200"/>
        </a:p>
      </dgm:t>
    </dgm:pt>
    <dgm:pt modelId="{3BCEAFC4-DF97-4691-8735-846E75B2E805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dirty="0">
              <a:latin typeface="Monserrat"/>
            </a:rPr>
            <a:t>Clareza na aplicação das normas</a:t>
          </a:r>
          <a:endParaRPr lang="en-US" sz="1400" dirty="0">
            <a:latin typeface="Monserrat"/>
          </a:endParaRPr>
        </a:p>
      </dgm:t>
    </dgm:pt>
    <dgm:pt modelId="{F2CE3446-BC8E-41AA-A155-D231F23A9083}" type="parTrans" cxnId="{9A0C0AB9-9A16-4160-B2F8-A7BF9CB971DF}">
      <dgm:prSet/>
      <dgm:spPr/>
      <dgm:t>
        <a:bodyPr/>
        <a:lstStyle/>
        <a:p>
          <a:endParaRPr lang="en-US"/>
        </a:p>
      </dgm:t>
    </dgm:pt>
    <dgm:pt modelId="{3D27DBAE-DAB0-41A7-8AF3-C277BAE3134F}" type="sibTrans" cxnId="{9A0C0AB9-9A16-4160-B2F8-A7BF9CB971DF}">
      <dgm:prSet/>
      <dgm:spPr/>
      <dgm:t>
        <a:bodyPr/>
        <a:lstStyle/>
        <a:p>
          <a:endParaRPr lang="en-US"/>
        </a:p>
      </dgm:t>
    </dgm:pt>
    <dgm:pt modelId="{015F0616-A03D-4694-8774-2CF229302F2A}">
      <dgm:prSet phldrT="[Texto]" custT="1"/>
      <dgm:spPr/>
      <dgm:t>
        <a:bodyPr/>
        <a:lstStyle/>
        <a:p>
          <a:r>
            <a:rPr lang="pt-BR" sz="1400" dirty="0">
              <a:latin typeface="Monserrat"/>
            </a:rPr>
            <a:t>Ambiente tributário mais justo e simples</a:t>
          </a:r>
          <a:endParaRPr lang="en-US" sz="1400" dirty="0">
            <a:latin typeface="Monserrat"/>
          </a:endParaRPr>
        </a:p>
      </dgm:t>
    </dgm:pt>
    <dgm:pt modelId="{06F06542-4B83-406D-A16F-FDA2EA3D058B}" type="parTrans" cxnId="{AD5F056B-2421-426F-9AB2-F85A80937F54}">
      <dgm:prSet/>
      <dgm:spPr/>
      <dgm:t>
        <a:bodyPr/>
        <a:lstStyle/>
        <a:p>
          <a:endParaRPr lang="en-US"/>
        </a:p>
      </dgm:t>
    </dgm:pt>
    <dgm:pt modelId="{CC8EC305-4DE5-44EF-A327-27EBB35BF006}" type="sibTrans" cxnId="{AD5F056B-2421-426F-9AB2-F85A80937F54}">
      <dgm:prSet/>
      <dgm:spPr/>
      <dgm:t>
        <a:bodyPr/>
        <a:lstStyle/>
        <a:p>
          <a:endParaRPr lang="en-US"/>
        </a:p>
      </dgm:t>
    </dgm:pt>
    <dgm:pt modelId="{5DF9B8BC-1AF4-40C7-A98F-CF99D67F91E6}">
      <dgm:prSet phldrT="[Texto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pt-BR" sz="1400" noProof="0" dirty="0">
              <a:latin typeface="Monserrat"/>
            </a:rPr>
            <a:t>Segurança Jurídica</a:t>
          </a:r>
        </a:p>
      </dgm:t>
    </dgm:pt>
    <dgm:pt modelId="{229E7B8D-C1FA-4152-B7AA-14DAC1D72E11}" type="parTrans" cxnId="{4519B18D-205A-41E6-8B92-8BBC5ACB4FD9}">
      <dgm:prSet/>
      <dgm:spPr/>
      <dgm:t>
        <a:bodyPr/>
        <a:lstStyle/>
        <a:p>
          <a:endParaRPr lang="pt-BR"/>
        </a:p>
      </dgm:t>
    </dgm:pt>
    <dgm:pt modelId="{09910BB0-EEEF-467D-9F6E-67EB9AE2A756}" type="sibTrans" cxnId="{4519B18D-205A-41E6-8B92-8BBC5ACB4FD9}">
      <dgm:prSet/>
      <dgm:spPr/>
      <dgm:t>
        <a:bodyPr/>
        <a:lstStyle/>
        <a:p>
          <a:endParaRPr lang="pt-BR"/>
        </a:p>
      </dgm:t>
    </dgm:pt>
    <dgm:pt modelId="{2B5BEDE1-BE23-44B7-A064-49C718727C6B}" type="pres">
      <dgm:prSet presAssocID="{7E493ACC-2947-41FB-BCA6-DA2307B372AA}" presName="Name0" presStyleCnt="0">
        <dgm:presLayoutVars>
          <dgm:chMax val="7"/>
          <dgm:chPref val="7"/>
          <dgm:dir/>
        </dgm:presLayoutVars>
      </dgm:prSet>
      <dgm:spPr/>
    </dgm:pt>
    <dgm:pt modelId="{2CBFD036-C08D-4B3E-BC6E-A892348C8A63}" type="pres">
      <dgm:prSet presAssocID="{7E493ACC-2947-41FB-BCA6-DA2307B372AA}" presName="Name1" presStyleCnt="0"/>
      <dgm:spPr/>
    </dgm:pt>
    <dgm:pt modelId="{F7C42805-B985-4B05-8516-49C208DCE181}" type="pres">
      <dgm:prSet presAssocID="{7E493ACC-2947-41FB-BCA6-DA2307B372AA}" presName="cycle" presStyleCnt="0"/>
      <dgm:spPr/>
    </dgm:pt>
    <dgm:pt modelId="{B4561441-4881-4D9F-BB96-593129FE0695}" type="pres">
      <dgm:prSet presAssocID="{7E493ACC-2947-41FB-BCA6-DA2307B372AA}" presName="srcNode" presStyleLbl="node1" presStyleIdx="0" presStyleCnt="5"/>
      <dgm:spPr/>
    </dgm:pt>
    <dgm:pt modelId="{0A79E03A-B4E4-495A-B60E-F64FDD34359B}" type="pres">
      <dgm:prSet presAssocID="{7E493ACC-2947-41FB-BCA6-DA2307B372AA}" presName="conn" presStyleLbl="parChTrans1D2" presStyleIdx="0" presStyleCnt="1"/>
      <dgm:spPr/>
    </dgm:pt>
    <dgm:pt modelId="{9C682980-B7FC-43A4-AB72-82D2A58A2807}" type="pres">
      <dgm:prSet presAssocID="{7E493ACC-2947-41FB-BCA6-DA2307B372AA}" presName="extraNode" presStyleLbl="node1" presStyleIdx="0" presStyleCnt="5"/>
      <dgm:spPr/>
    </dgm:pt>
    <dgm:pt modelId="{E7B70463-DAE7-4269-878A-C36838B89F47}" type="pres">
      <dgm:prSet presAssocID="{7E493ACC-2947-41FB-BCA6-DA2307B372AA}" presName="dstNode" presStyleLbl="node1" presStyleIdx="0" presStyleCnt="5"/>
      <dgm:spPr/>
    </dgm:pt>
    <dgm:pt modelId="{441FF986-E6C6-46C3-9F61-7F5D120C5747}" type="pres">
      <dgm:prSet presAssocID="{BAB2EB69-77BF-4191-AF22-59EE1FD0DEF3}" presName="text_1" presStyleLbl="node1" presStyleIdx="0" presStyleCnt="5">
        <dgm:presLayoutVars>
          <dgm:bulletEnabled val="1"/>
        </dgm:presLayoutVars>
      </dgm:prSet>
      <dgm:spPr/>
    </dgm:pt>
    <dgm:pt modelId="{28DF9F97-35DE-478B-AE8C-FE6D017D2119}" type="pres">
      <dgm:prSet presAssocID="{BAB2EB69-77BF-4191-AF22-59EE1FD0DEF3}" presName="accent_1" presStyleCnt="0"/>
      <dgm:spPr/>
    </dgm:pt>
    <dgm:pt modelId="{0FE69EBC-B046-45ED-8251-A6FACBCA8C01}" type="pres">
      <dgm:prSet presAssocID="{BAB2EB69-77BF-4191-AF22-59EE1FD0DEF3}" presName="accentRepeatNode" presStyleLbl="solidFgAcc1" presStyleIdx="0" presStyleCnt="5"/>
      <dgm:spPr/>
    </dgm:pt>
    <dgm:pt modelId="{C2245ABE-5423-4F38-B15F-63D9C330B7E9}" type="pres">
      <dgm:prSet presAssocID="{CE0CAC46-4E39-4967-9C15-83BFDAD8FF13}" presName="text_2" presStyleLbl="node1" presStyleIdx="1" presStyleCnt="5">
        <dgm:presLayoutVars>
          <dgm:bulletEnabled val="1"/>
        </dgm:presLayoutVars>
      </dgm:prSet>
      <dgm:spPr/>
    </dgm:pt>
    <dgm:pt modelId="{2324F4F6-FF12-4D54-8C3C-93D79AF106D7}" type="pres">
      <dgm:prSet presAssocID="{CE0CAC46-4E39-4967-9C15-83BFDAD8FF13}" presName="accent_2" presStyleCnt="0"/>
      <dgm:spPr/>
    </dgm:pt>
    <dgm:pt modelId="{6DED914C-3791-4F78-9C96-250018F05455}" type="pres">
      <dgm:prSet presAssocID="{CE0CAC46-4E39-4967-9C15-83BFDAD8FF13}" presName="accentRepeatNode" presStyleLbl="solidFgAcc1" presStyleIdx="1" presStyleCnt="5"/>
      <dgm:spPr/>
    </dgm:pt>
    <dgm:pt modelId="{936C4EA6-6C76-4310-BE6D-18F389B1FF7B}" type="pres">
      <dgm:prSet presAssocID="{3BCEAFC4-DF97-4691-8735-846E75B2E805}" presName="text_3" presStyleLbl="node1" presStyleIdx="2" presStyleCnt="5">
        <dgm:presLayoutVars>
          <dgm:bulletEnabled val="1"/>
        </dgm:presLayoutVars>
      </dgm:prSet>
      <dgm:spPr/>
    </dgm:pt>
    <dgm:pt modelId="{8D9CBBED-1C63-42AD-B127-3228A6360B01}" type="pres">
      <dgm:prSet presAssocID="{3BCEAFC4-DF97-4691-8735-846E75B2E805}" presName="accent_3" presStyleCnt="0"/>
      <dgm:spPr/>
    </dgm:pt>
    <dgm:pt modelId="{3F72E6B0-6108-487E-AB12-6BB14E69D26B}" type="pres">
      <dgm:prSet presAssocID="{3BCEAFC4-DF97-4691-8735-846E75B2E805}" presName="accentRepeatNode" presStyleLbl="solidFgAcc1" presStyleIdx="2" presStyleCnt="5"/>
      <dgm:spPr/>
    </dgm:pt>
    <dgm:pt modelId="{B61BB31F-FC17-4FB2-B65E-EA0DF69A1AB2}" type="pres">
      <dgm:prSet presAssocID="{5DF9B8BC-1AF4-40C7-A98F-CF99D67F91E6}" presName="text_4" presStyleLbl="node1" presStyleIdx="3" presStyleCnt="5">
        <dgm:presLayoutVars>
          <dgm:bulletEnabled val="1"/>
        </dgm:presLayoutVars>
      </dgm:prSet>
      <dgm:spPr/>
    </dgm:pt>
    <dgm:pt modelId="{8DD21BC7-E19A-4E6F-BD09-1A42E3E91F8E}" type="pres">
      <dgm:prSet presAssocID="{5DF9B8BC-1AF4-40C7-A98F-CF99D67F91E6}" presName="accent_4" presStyleCnt="0"/>
      <dgm:spPr/>
    </dgm:pt>
    <dgm:pt modelId="{A2EBA1EC-64E6-48CA-A67E-83D4EE6B9033}" type="pres">
      <dgm:prSet presAssocID="{5DF9B8BC-1AF4-40C7-A98F-CF99D67F91E6}" presName="accentRepeatNode" presStyleLbl="solidFgAcc1" presStyleIdx="3" presStyleCnt="5"/>
      <dgm:spPr/>
    </dgm:pt>
    <dgm:pt modelId="{EBCABAF6-7F25-420F-AAE6-F36F7E2170F2}" type="pres">
      <dgm:prSet presAssocID="{015F0616-A03D-4694-8774-2CF229302F2A}" presName="text_5" presStyleLbl="node1" presStyleIdx="4" presStyleCnt="5">
        <dgm:presLayoutVars>
          <dgm:bulletEnabled val="1"/>
        </dgm:presLayoutVars>
      </dgm:prSet>
      <dgm:spPr/>
    </dgm:pt>
    <dgm:pt modelId="{A9D15978-58AB-4EB4-8451-EF669EBE161F}" type="pres">
      <dgm:prSet presAssocID="{015F0616-A03D-4694-8774-2CF229302F2A}" presName="accent_5" presStyleCnt="0"/>
      <dgm:spPr/>
    </dgm:pt>
    <dgm:pt modelId="{D3B497E8-A889-4F07-8999-91D28A800FE9}" type="pres">
      <dgm:prSet presAssocID="{015F0616-A03D-4694-8774-2CF229302F2A}" presName="accentRepeatNode" presStyleLbl="solidFgAcc1" presStyleIdx="4" presStyleCnt="5"/>
      <dgm:spPr/>
    </dgm:pt>
  </dgm:ptLst>
  <dgm:cxnLst>
    <dgm:cxn modelId="{FDCE6E0B-2A52-4C5C-842D-B89FA08060E6}" type="presOf" srcId="{BAB2EB69-77BF-4191-AF22-59EE1FD0DEF3}" destId="{441FF986-E6C6-46C3-9F61-7F5D120C5747}" srcOrd="0" destOrd="0" presId="urn:microsoft.com/office/officeart/2008/layout/VerticalCurvedList"/>
    <dgm:cxn modelId="{F978AA63-0B2B-4643-9E2A-55EF1CE23D40}" type="presOf" srcId="{7E493ACC-2947-41FB-BCA6-DA2307B372AA}" destId="{2B5BEDE1-BE23-44B7-A064-49C718727C6B}" srcOrd="0" destOrd="0" presId="urn:microsoft.com/office/officeart/2008/layout/VerticalCurvedList"/>
    <dgm:cxn modelId="{AD5F056B-2421-426F-9AB2-F85A80937F54}" srcId="{7E493ACC-2947-41FB-BCA6-DA2307B372AA}" destId="{015F0616-A03D-4694-8774-2CF229302F2A}" srcOrd="4" destOrd="0" parTransId="{06F06542-4B83-406D-A16F-FDA2EA3D058B}" sibTransId="{CC8EC305-4DE5-44EF-A327-27EBB35BF006}"/>
    <dgm:cxn modelId="{A4E4A171-77B4-4466-B94E-EF8F2C61FDB8}" type="presOf" srcId="{5DF9B8BC-1AF4-40C7-A98F-CF99D67F91E6}" destId="{B61BB31F-FC17-4FB2-B65E-EA0DF69A1AB2}" srcOrd="0" destOrd="0" presId="urn:microsoft.com/office/officeart/2008/layout/VerticalCurvedList"/>
    <dgm:cxn modelId="{4519B18D-205A-41E6-8B92-8BBC5ACB4FD9}" srcId="{7E493ACC-2947-41FB-BCA6-DA2307B372AA}" destId="{5DF9B8BC-1AF4-40C7-A98F-CF99D67F91E6}" srcOrd="3" destOrd="0" parTransId="{229E7B8D-C1FA-4152-B7AA-14DAC1D72E11}" sibTransId="{09910BB0-EEEF-467D-9F6E-67EB9AE2A756}"/>
    <dgm:cxn modelId="{41B5D099-179D-4447-8867-93614E8C01BA}" type="presOf" srcId="{3BCEAFC4-DF97-4691-8735-846E75B2E805}" destId="{936C4EA6-6C76-4310-BE6D-18F389B1FF7B}" srcOrd="0" destOrd="0" presId="urn:microsoft.com/office/officeart/2008/layout/VerticalCurvedList"/>
    <dgm:cxn modelId="{4E3B58AA-571B-4195-AC88-244257CFAF0A}" type="presOf" srcId="{6F3FE560-6391-4A0D-9420-5323FBA323B0}" destId="{0A79E03A-B4E4-495A-B60E-F64FDD34359B}" srcOrd="0" destOrd="0" presId="urn:microsoft.com/office/officeart/2008/layout/VerticalCurvedList"/>
    <dgm:cxn modelId="{3F2515B3-8CFB-47DE-8449-5C5DB90C1C2D}" type="presOf" srcId="{CE0CAC46-4E39-4967-9C15-83BFDAD8FF13}" destId="{C2245ABE-5423-4F38-B15F-63D9C330B7E9}" srcOrd="0" destOrd="0" presId="urn:microsoft.com/office/officeart/2008/layout/VerticalCurvedList"/>
    <dgm:cxn modelId="{9A0C0AB9-9A16-4160-B2F8-A7BF9CB971DF}" srcId="{7E493ACC-2947-41FB-BCA6-DA2307B372AA}" destId="{3BCEAFC4-DF97-4691-8735-846E75B2E805}" srcOrd="2" destOrd="0" parTransId="{F2CE3446-BC8E-41AA-A155-D231F23A9083}" sibTransId="{3D27DBAE-DAB0-41A7-8AF3-C277BAE3134F}"/>
    <dgm:cxn modelId="{DDAB27C8-EFA5-42B8-AA69-C596FA3FAD0B}" srcId="{7E493ACC-2947-41FB-BCA6-DA2307B372AA}" destId="{CE0CAC46-4E39-4967-9C15-83BFDAD8FF13}" srcOrd="1" destOrd="0" parTransId="{3FF82D31-25F7-444B-A479-BE1691957A15}" sibTransId="{35187B62-1DD2-455C-9E88-4CA1D35594CB}"/>
    <dgm:cxn modelId="{DFFF76ED-7FDF-42C1-BA2A-511D05DB94ED}" type="presOf" srcId="{015F0616-A03D-4694-8774-2CF229302F2A}" destId="{EBCABAF6-7F25-420F-AAE6-F36F7E2170F2}" srcOrd="0" destOrd="0" presId="urn:microsoft.com/office/officeart/2008/layout/VerticalCurvedList"/>
    <dgm:cxn modelId="{5312B6FD-7B7C-40B0-AC47-89E5C2713038}" srcId="{7E493ACC-2947-41FB-BCA6-DA2307B372AA}" destId="{BAB2EB69-77BF-4191-AF22-59EE1FD0DEF3}" srcOrd="0" destOrd="0" parTransId="{A0C92FC3-79B2-464A-8418-420430AE6FFC}" sibTransId="{6F3FE560-6391-4A0D-9420-5323FBA323B0}"/>
    <dgm:cxn modelId="{2A6A3045-2111-4EE8-A153-AFCEF0B51C02}" type="presParOf" srcId="{2B5BEDE1-BE23-44B7-A064-49C718727C6B}" destId="{2CBFD036-C08D-4B3E-BC6E-A892348C8A63}" srcOrd="0" destOrd="0" presId="urn:microsoft.com/office/officeart/2008/layout/VerticalCurvedList"/>
    <dgm:cxn modelId="{13F59793-5CB9-47FE-8AFA-A0B57815DF51}" type="presParOf" srcId="{2CBFD036-C08D-4B3E-BC6E-A892348C8A63}" destId="{F7C42805-B985-4B05-8516-49C208DCE181}" srcOrd="0" destOrd="0" presId="urn:microsoft.com/office/officeart/2008/layout/VerticalCurvedList"/>
    <dgm:cxn modelId="{B99D5D6B-AB1B-434E-9B05-18DD4B874626}" type="presParOf" srcId="{F7C42805-B985-4B05-8516-49C208DCE181}" destId="{B4561441-4881-4D9F-BB96-593129FE0695}" srcOrd="0" destOrd="0" presId="urn:microsoft.com/office/officeart/2008/layout/VerticalCurvedList"/>
    <dgm:cxn modelId="{ACB32E55-FE9D-4FF6-95F3-4ECE6244D4C8}" type="presParOf" srcId="{F7C42805-B985-4B05-8516-49C208DCE181}" destId="{0A79E03A-B4E4-495A-B60E-F64FDD34359B}" srcOrd="1" destOrd="0" presId="urn:microsoft.com/office/officeart/2008/layout/VerticalCurvedList"/>
    <dgm:cxn modelId="{5786728B-AC29-419E-A7E1-9DBED540ED8E}" type="presParOf" srcId="{F7C42805-B985-4B05-8516-49C208DCE181}" destId="{9C682980-B7FC-43A4-AB72-82D2A58A2807}" srcOrd="2" destOrd="0" presId="urn:microsoft.com/office/officeart/2008/layout/VerticalCurvedList"/>
    <dgm:cxn modelId="{27EE69A9-3F2F-4F60-B932-605B044ED2B1}" type="presParOf" srcId="{F7C42805-B985-4B05-8516-49C208DCE181}" destId="{E7B70463-DAE7-4269-878A-C36838B89F47}" srcOrd="3" destOrd="0" presId="urn:microsoft.com/office/officeart/2008/layout/VerticalCurvedList"/>
    <dgm:cxn modelId="{47997B5E-3F63-474B-A5F1-AB961E36EF48}" type="presParOf" srcId="{2CBFD036-C08D-4B3E-BC6E-A892348C8A63}" destId="{441FF986-E6C6-46C3-9F61-7F5D120C5747}" srcOrd="1" destOrd="0" presId="urn:microsoft.com/office/officeart/2008/layout/VerticalCurvedList"/>
    <dgm:cxn modelId="{771DA4F6-F2A2-4204-AC43-8EFE95406E3C}" type="presParOf" srcId="{2CBFD036-C08D-4B3E-BC6E-A892348C8A63}" destId="{28DF9F97-35DE-478B-AE8C-FE6D017D2119}" srcOrd="2" destOrd="0" presId="urn:microsoft.com/office/officeart/2008/layout/VerticalCurvedList"/>
    <dgm:cxn modelId="{CAD1DE5B-E537-489F-90B5-A07ABDEF81E7}" type="presParOf" srcId="{28DF9F97-35DE-478B-AE8C-FE6D017D2119}" destId="{0FE69EBC-B046-45ED-8251-A6FACBCA8C01}" srcOrd="0" destOrd="0" presId="urn:microsoft.com/office/officeart/2008/layout/VerticalCurvedList"/>
    <dgm:cxn modelId="{16715CA1-2D99-4463-9B30-6A24CC547CC3}" type="presParOf" srcId="{2CBFD036-C08D-4B3E-BC6E-A892348C8A63}" destId="{C2245ABE-5423-4F38-B15F-63D9C330B7E9}" srcOrd="3" destOrd="0" presId="urn:microsoft.com/office/officeart/2008/layout/VerticalCurvedList"/>
    <dgm:cxn modelId="{3366AC1D-DD1E-4E93-B191-AB382D147242}" type="presParOf" srcId="{2CBFD036-C08D-4B3E-BC6E-A892348C8A63}" destId="{2324F4F6-FF12-4D54-8C3C-93D79AF106D7}" srcOrd="4" destOrd="0" presId="urn:microsoft.com/office/officeart/2008/layout/VerticalCurvedList"/>
    <dgm:cxn modelId="{E16A8FA5-66F2-4E2B-8259-3F3145325E1C}" type="presParOf" srcId="{2324F4F6-FF12-4D54-8C3C-93D79AF106D7}" destId="{6DED914C-3791-4F78-9C96-250018F05455}" srcOrd="0" destOrd="0" presId="urn:microsoft.com/office/officeart/2008/layout/VerticalCurvedList"/>
    <dgm:cxn modelId="{DDF952D1-35FF-4D5A-B6A4-B4691530AE3A}" type="presParOf" srcId="{2CBFD036-C08D-4B3E-BC6E-A892348C8A63}" destId="{936C4EA6-6C76-4310-BE6D-18F389B1FF7B}" srcOrd="5" destOrd="0" presId="urn:microsoft.com/office/officeart/2008/layout/VerticalCurvedList"/>
    <dgm:cxn modelId="{9F1AFD21-684A-4992-9B07-B2098D6363AC}" type="presParOf" srcId="{2CBFD036-C08D-4B3E-BC6E-A892348C8A63}" destId="{8D9CBBED-1C63-42AD-B127-3228A6360B01}" srcOrd="6" destOrd="0" presId="urn:microsoft.com/office/officeart/2008/layout/VerticalCurvedList"/>
    <dgm:cxn modelId="{CAA74C06-363F-4355-AC15-EC3E5658CF99}" type="presParOf" srcId="{8D9CBBED-1C63-42AD-B127-3228A6360B01}" destId="{3F72E6B0-6108-487E-AB12-6BB14E69D26B}" srcOrd="0" destOrd="0" presId="urn:microsoft.com/office/officeart/2008/layout/VerticalCurvedList"/>
    <dgm:cxn modelId="{2EA465F4-8441-4FF4-BF20-7831851073D7}" type="presParOf" srcId="{2CBFD036-C08D-4B3E-BC6E-A892348C8A63}" destId="{B61BB31F-FC17-4FB2-B65E-EA0DF69A1AB2}" srcOrd="7" destOrd="0" presId="urn:microsoft.com/office/officeart/2008/layout/VerticalCurvedList"/>
    <dgm:cxn modelId="{CFC2543F-5A61-4E14-832B-A094EC54025F}" type="presParOf" srcId="{2CBFD036-C08D-4B3E-BC6E-A892348C8A63}" destId="{8DD21BC7-E19A-4E6F-BD09-1A42E3E91F8E}" srcOrd="8" destOrd="0" presId="urn:microsoft.com/office/officeart/2008/layout/VerticalCurvedList"/>
    <dgm:cxn modelId="{95835844-E8BC-4835-AAC6-4B4A493A8B70}" type="presParOf" srcId="{8DD21BC7-E19A-4E6F-BD09-1A42E3E91F8E}" destId="{A2EBA1EC-64E6-48CA-A67E-83D4EE6B9033}" srcOrd="0" destOrd="0" presId="urn:microsoft.com/office/officeart/2008/layout/VerticalCurvedList"/>
    <dgm:cxn modelId="{F838F406-74A9-42DB-847F-7F73AE9E4AD4}" type="presParOf" srcId="{2CBFD036-C08D-4B3E-BC6E-A892348C8A63}" destId="{EBCABAF6-7F25-420F-AAE6-F36F7E2170F2}" srcOrd="9" destOrd="0" presId="urn:microsoft.com/office/officeart/2008/layout/VerticalCurvedList"/>
    <dgm:cxn modelId="{659BFA8C-E807-4205-8BB0-DAABF74FC548}" type="presParOf" srcId="{2CBFD036-C08D-4B3E-BC6E-A892348C8A63}" destId="{A9D15978-58AB-4EB4-8451-EF669EBE161F}" srcOrd="10" destOrd="0" presId="urn:microsoft.com/office/officeart/2008/layout/VerticalCurvedList"/>
    <dgm:cxn modelId="{AB1D0391-13AE-4DF7-AB75-C5F53635BA53}" type="presParOf" srcId="{A9D15978-58AB-4EB4-8451-EF669EBE161F}" destId="{D3B497E8-A889-4F07-8999-91D28A800FE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738517-B6D2-4A50-A13D-B914B01C51E8}">
      <dsp:nvSpPr>
        <dsp:cNvPr id="0" name=""/>
        <dsp:cNvSpPr/>
      </dsp:nvSpPr>
      <dsp:spPr>
        <a:xfrm>
          <a:off x="0" y="1737341"/>
          <a:ext cx="1711584" cy="68463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800" b="1" kern="120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rPr>
            <a:t>             </a:t>
          </a:r>
          <a:endParaRPr lang="pt-BR" sz="800" b="1" kern="1200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sp:txBody>
      <dsp:txXfrm>
        <a:off x="342317" y="1737341"/>
        <a:ext cx="1026951" cy="684633"/>
      </dsp:txXfrm>
    </dsp:sp>
    <dsp:sp modelId="{6A1B2C55-6EE2-40A7-8704-D12E07A85A63}">
      <dsp:nvSpPr>
        <dsp:cNvPr id="0" name=""/>
        <dsp:cNvSpPr/>
      </dsp:nvSpPr>
      <dsp:spPr>
        <a:xfrm>
          <a:off x="1516610" y="1752526"/>
          <a:ext cx="1711584" cy="68463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800" b="1" kern="1200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sp:txBody>
      <dsp:txXfrm>
        <a:off x="1858927" y="1752526"/>
        <a:ext cx="1026951" cy="684633"/>
      </dsp:txXfrm>
    </dsp:sp>
    <dsp:sp modelId="{AA81ECE2-3971-461C-BFCD-1F98F994CC6B}">
      <dsp:nvSpPr>
        <dsp:cNvPr id="0" name=""/>
        <dsp:cNvSpPr/>
      </dsp:nvSpPr>
      <dsp:spPr>
        <a:xfrm>
          <a:off x="3058847" y="1737341"/>
          <a:ext cx="1711584" cy="68463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800" b="1" kern="1200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sp:txBody>
      <dsp:txXfrm>
        <a:off x="3401164" y="1737341"/>
        <a:ext cx="1026951" cy="684633"/>
      </dsp:txXfrm>
    </dsp:sp>
    <dsp:sp modelId="{980C9FE2-0C9E-4642-BA20-7B59D68577B3}">
      <dsp:nvSpPr>
        <dsp:cNvPr id="0" name=""/>
        <dsp:cNvSpPr/>
      </dsp:nvSpPr>
      <dsp:spPr>
        <a:xfrm>
          <a:off x="4621277" y="1737341"/>
          <a:ext cx="1711584" cy="68463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800" b="1" kern="1200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sp:txBody>
      <dsp:txXfrm>
        <a:off x="4963594" y="1737341"/>
        <a:ext cx="1026951" cy="684633"/>
      </dsp:txXfrm>
    </dsp:sp>
    <dsp:sp modelId="{D0FED0E1-99D3-4C6E-A9D7-0B3511C9D1F5}">
      <dsp:nvSpPr>
        <dsp:cNvPr id="0" name=""/>
        <dsp:cNvSpPr/>
      </dsp:nvSpPr>
      <dsp:spPr>
        <a:xfrm>
          <a:off x="6161703" y="1737341"/>
          <a:ext cx="1711584" cy="68463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800" b="1" kern="1200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sp:txBody>
      <dsp:txXfrm>
        <a:off x="6504020" y="1737341"/>
        <a:ext cx="1026951" cy="684633"/>
      </dsp:txXfrm>
    </dsp:sp>
    <dsp:sp modelId="{7D521138-BEDC-4A7E-8A68-747E36965A26}">
      <dsp:nvSpPr>
        <dsp:cNvPr id="0" name=""/>
        <dsp:cNvSpPr/>
      </dsp:nvSpPr>
      <dsp:spPr>
        <a:xfrm>
          <a:off x="7702128" y="1737341"/>
          <a:ext cx="1711584" cy="68463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800" b="1" kern="1200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sp:txBody>
      <dsp:txXfrm>
        <a:off x="8044445" y="1737341"/>
        <a:ext cx="1026951" cy="684633"/>
      </dsp:txXfrm>
    </dsp:sp>
    <dsp:sp modelId="{0E429DD7-6222-43BB-B5D0-F95BF992347A}">
      <dsp:nvSpPr>
        <dsp:cNvPr id="0" name=""/>
        <dsp:cNvSpPr/>
      </dsp:nvSpPr>
      <dsp:spPr>
        <a:xfrm>
          <a:off x="9242554" y="1737341"/>
          <a:ext cx="1711584" cy="684633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004" tIns="10668" rIns="10668" bIns="10668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800" b="1" kern="1200" dirty="0">
            <a:solidFill>
              <a:schemeClr val="tx1">
                <a:lumMod val="65000"/>
                <a:lumOff val="35000"/>
              </a:schemeClr>
            </a:solidFill>
            <a:latin typeface="Century Gothic" panose="020B0502020202020204" pitchFamily="34" charset="0"/>
          </a:endParaRPr>
        </a:p>
      </dsp:txBody>
      <dsp:txXfrm>
        <a:off x="9584871" y="1737341"/>
        <a:ext cx="1026951" cy="6846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79E03A-B4E4-495A-B60E-F64FDD34359B}">
      <dsp:nvSpPr>
        <dsp:cNvPr id="0" name=""/>
        <dsp:cNvSpPr/>
      </dsp:nvSpPr>
      <dsp:spPr>
        <a:xfrm>
          <a:off x="-3894156" y="-597962"/>
          <a:ext cx="4641053" cy="4641053"/>
        </a:xfrm>
        <a:prstGeom prst="blockArc">
          <a:avLst>
            <a:gd name="adj1" fmla="val 18900000"/>
            <a:gd name="adj2" fmla="val 2700000"/>
            <a:gd name="adj3" fmla="val 465"/>
          </a:avLst>
        </a:pr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051525-68DA-4EAA-B6FD-7CDB0F0388EC}">
      <dsp:nvSpPr>
        <dsp:cNvPr id="0" name=""/>
        <dsp:cNvSpPr/>
      </dsp:nvSpPr>
      <dsp:spPr>
        <a:xfrm>
          <a:off x="279463" y="181420"/>
          <a:ext cx="3638777" cy="3627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78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dirty="0">
              <a:latin typeface="Monserrat"/>
            </a:rPr>
            <a:t>Ambiente litigioso</a:t>
          </a:r>
          <a:endParaRPr lang="en-US" sz="1400" kern="1200" dirty="0">
            <a:latin typeface="Monserrat"/>
          </a:endParaRPr>
        </a:p>
      </dsp:txBody>
      <dsp:txXfrm>
        <a:off x="279463" y="181420"/>
        <a:ext cx="3638777" cy="362703"/>
      </dsp:txXfrm>
    </dsp:sp>
    <dsp:sp modelId="{10741F17-E9B1-43D2-BB1E-72E05C15E622}">
      <dsp:nvSpPr>
        <dsp:cNvPr id="0" name=""/>
        <dsp:cNvSpPr/>
      </dsp:nvSpPr>
      <dsp:spPr>
        <a:xfrm>
          <a:off x="52774" y="136082"/>
          <a:ext cx="453378" cy="4533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4B9AE1-3D96-4A23-9CF8-1F92100A75E9}">
      <dsp:nvSpPr>
        <dsp:cNvPr id="0" name=""/>
        <dsp:cNvSpPr/>
      </dsp:nvSpPr>
      <dsp:spPr>
        <a:xfrm>
          <a:off x="577811" y="725406"/>
          <a:ext cx="3340429" cy="3627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78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dirty="0">
              <a:latin typeface="Monserrat"/>
            </a:rPr>
            <a:t>Estímulo à sonegação fiscal</a:t>
          </a:r>
          <a:endParaRPr lang="en-US" sz="1400" kern="1200" dirty="0">
            <a:latin typeface="Monserrat"/>
          </a:endParaRPr>
        </a:p>
      </dsp:txBody>
      <dsp:txXfrm>
        <a:off x="577811" y="725406"/>
        <a:ext cx="3340429" cy="362703"/>
      </dsp:txXfrm>
    </dsp:sp>
    <dsp:sp modelId="{0FE69EBC-B046-45ED-8251-A6FACBCA8C01}">
      <dsp:nvSpPr>
        <dsp:cNvPr id="0" name=""/>
        <dsp:cNvSpPr/>
      </dsp:nvSpPr>
      <dsp:spPr>
        <a:xfrm>
          <a:off x="351122" y="680068"/>
          <a:ext cx="453378" cy="4533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2D8102-CDF0-480A-8787-9AE2F6FA5521}">
      <dsp:nvSpPr>
        <dsp:cNvPr id="0" name=""/>
        <dsp:cNvSpPr/>
      </dsp:nvSpPr>
      <dsp:spPr>
        <a:xfrm>
          <a:off x="714238" y="1269392"/>
          <a:ext cx="3204002" cy="3627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78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dirty="0">
              <a:latin typeface="Monserrat"/>
            </a:rPr>
            <a:t>Sobreposição de obrigações acessórias</a:t>
          </a:r>
          <a:endParaRPr lang="en-US" sz="1400" kern="1200" dirty="0">
            <a:latin typeface="Monserrat"/>
          </a:endParaRPr>
        </a:p>
      </dsp:txBody>
      <dsp:txXfrm>
        <a:off x="714238" y="1269392"/>
        <a:ext cx="3204002" cy="362703"/>
      </dsp:txXfrm>
    </dsp:sp>
    <dsp:sp modelId="{7C2BD5DC-1309-4594-9FC9-F9EB106EF977}">
      <dsp:nvSpPr>
        <dsp:cNvPr id="0" name=""/>
        <dsp:cNvSpPr/>
      </dsp:nvSpPr>
      <dsp:spPr>
        <a:xfrm>
          <a:off x="487549" y="1224054"/>
          <a:ext cx="453378" cy="4533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A2BDE0-1C95-4FA7-BCB0-FBCDD43B3F2C}">
      <dsp:nvSpPr>
        <dsp:cNvPr id="0" name=""/>
        <dsp:cNvSpPr/>
      </dsp:nvSpPr>
      <dsp:spPr>
        <a:xfrm>
          <a:off x="714238" y="1813033"/>
          <a:ext cx="3204002" cy="3627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78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dirty="0">
              <a:latin typeface="Monserrat"/>
            </a:rPr>
            <a:t>Ausência </a:t>
          </a:r>
          <a:r>
            <a:rPr lang="pt-BR" sz="1400" kern="1200" noProof="0" dirty="0">
              <a:latin typeface="Monserrat"/>
            </a:rPr>
            <a:t>de clareza</a:t>
          </a:r>
        </a:p>
      </dsp:txBody>
      <dsp:txXfrm>
        <a:off x="714238" y="1813033"/>
        <a:ext cx="3204002" cy="362703"/>
      </dsp:txXfrm>
    </dsp:sp>
    <dsp:sp modelId="{6DED914C-3791-4F78-9C96-250018F05455}">
      <dsp:nvSpPr>
        <dsp:cNvPr id="0" name=""/>
        <dsp:cNvSpPr/>
      </dsp:nvSpPr>
      <dsp:spPr>
        <a:xfrm>
          <a:off x="487549" y="1767695"/>
          <a:ext cx="453378" cy="4533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03AB33-BC5C-405E-BB65-CE0E9149AD79}">
      <dsp:nvSpPr>
        <dsp:cNvPr id="0" name=""/>
        <dsp:cNvSpPr/>
      </dsp:nvSpPr>
      <dsp:spPr>
        <a:xfrm>
          <a:off x="577811" y="2357019"/>
          <a:ext cx="3340429" cy="3627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78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noProof="0" dirty="0">
              <a:latin typeface="Monserrat"/>
            </a:rPr>
            <a:t>Insegurança Jurídica</a:t>
          </a:r>
        </a:p>
      </dsp:txBody>
      <dsp:txXfrm>
        <a:off x="577811" y="2357019"/>
        <a:ext cx="3340429" cy="362703"/>
      </dsp:txXfrm>
    </dsp:sp>
    <dsp:sp modelId="{E47FED6D-6AB6-4DFE-AB35-CCA9FCEF9991}">
      <dsp:nvSpPr>
        <dsp:cNvPr id="0" name=""/>
        <dsp:cNvSpPr/>
      </dsp:nvSpPr>
      <dsp:spPr>
        <a:xfrm>
          <a:off x="351122" y="2311681"/>
          <a:ext cx="453378" cy="4533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3D0C94-0FED-428B-80AE-CFD48C87365B}">
      <dsp:nvSpPr>
        <dsp:cNvPr id="0" name=""/>
        <dsp:cNvSpPr/>
      </dsp:nvSpPr>
      <dsp:spPr>
        <a:xfrm>
          <a:off x="279463" y="2901005"/>
          <a:ext cx="3638777" cy="3627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8789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Monserrat"/>
            </a:rPr>
            <a:t>Contencioso fiscal</a:t>
          </a:r>
        </a:p>
      </dsp:txBody>
      <dsp:txXfrm>
        <a:off x="279463" y="2901005"/>
        <a:ext cx="3638777" cy="362703"/>
      </dsp:txXfrm>
    </dsp:sp>
    <dsp:sp modelId="{8FF8A12A-2C46-4271-B728-79B06AC6499B}">
      <dsp:nvSpPr>
        <dsp:cNvPr id="0" name=""/>
        <dsp:cNvSpPr/>
      </dsp:nvSpPr>
      <dsp:spPr>
        <a:xfrm>
          <a:off x="52774" y="2855667"/>
          <a:ext cx="453378" cy="45337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79E03A-B4E4-495A-B60E-F64FDD34359B}">
      <dsp:nvSpPr>
        <dsp:cNvPr id="0" name=""/>
        <dsp:cNvSpPr/>
      </dsp:nvSpPr>
      <dsp:spPr>
        <a:xfrm>
          <a:off x="-3709417" y="-569876"/>
          <a:ext cx="4421596" cy="4421596"/>
        </a:xfrm>
        <a:prstGeom prst="blockArc">
          <a:avLst>
            <a:gd name="adj1" fmla="val 18900000"/>
            <a:gd name="adj2" fmla="val 2700000"/>
            <a:gd name="adj3" fmla="val 489"/>
          </a:avLst>
        </a:pr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1FF986-E6C6-46C3-9F61-7F5D120C5747}">
      <dsp:nvSpPr>
        <dsp:cNvPr id="0" name=""/>
        <dsp:cNvSpPr/>
      </dsp:nvSpPr>
      <dsp:spPr>
        <a:xfrm>
          <a:off x="312262" y="205049"/>
          <a:ext cx="3608557" cy="410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25725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dirty="0">
              <a:latin typeface="Monserrat"/>
            </a:rPr>
            <a:t>Melhoria na relação fisco-contribuinte</a:t>
          </a:r>
          <a:endParaRPr lang="en-US" sz="1400" kern="1200" dirty="0">
            <a:latin typeface="Monserrat"/>
          </a:endParaRPr>
        </a:p>
      </dsp:txBody>
      <dsp:txXfrm>
        <a:off x="312262" y="205049"/>
        <a:ext cx="3608557" cy="410361"/>
      </dsp:txXfrm>
    </dsp:sp>
    <dsp:sp modelId="{0FE69EBC-B046-45ED-8251-A6FACBCA8C01}">
      <dsp:nvSpPr>
        <dsp:cNvPr id="0" name=""/>
        <dsp:cNvSpPr/>
      </dsp:nvSpPr>
      <dsp:spPr>
        <a:xfrm>
          <a:off x="55786" y="153754"/>
          <a:ext cx="512952" cy="51295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245ABE-5423-4F38-B15F-63D9C330B7E9}">
      <dsp:nvSpPr>
        <dsp:cNvPr id="0" name=""/>
        <dsp:cNvSpPr/>
      </dsp:nvSpPr>
      <dsp:spPr>
        <a:xfrm>
          <a:off x="606315" y="820395"/>
          <a:ext cx="3314504" cy="410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25725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dirty="0">
              <a:latin typeface="Monserrat"/>
            </a:rPr>
            <a:t>Simplificação das obrigações tributárias</a:t>
          </a:r>
          <a:endParaRPr lang="en-US" sz="1400" kern="1200" dirty="0">
            <a:latin typeface="Monserrat"/>
          </a:endParaRPr>
        </a:p>
      </dsp:txBody>
      <dsp:txXfrm>
        <a:off x="606315" y="820395"/>
        <a:ext cx="3314504" cy="410361"/>
      </dsp:txXfrm>
    </dsp:sp>
    <dsp:sp modelId="{6DED914C-3791-4F78-9C96-250018F05455}">
      <dsp:nvSpPr>
        <dsp:cNvPr id="0" name=""/>
        <dsp:cNvSpPr/>
      </dsp:nvSpPr>
      <dsp:spPr>
        <a:xfrm>
          <a:off x="349839" y="769099"/>
          <a:ext cx="512952" cy="51295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6C4EA6-6C76-4310-BE6D-18F389B1FF7B}">
      <dsp:nvSpPr>
        <dsp:cNvPr id="0" name=""/>
        <dsp:cNvSpPr/>
      </dsp:nvSpPr>
      <dsp:spPr>
        <a:xfrm>
          <a:off x="696565" y="1435740"/>
          <a:ext cx="3224253" cy="410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25725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dirty="0">
              <a:latin typeface="Monserrat"/>
            </a:rPr>
            <a:t>Clareza na aplicação das normas</a:t>
          </a:r>
          <a:endParaRPr lang="en-US" sz="1400" kern="1200" dirty="0">
            <a:latin typeface="Monserrat"/>
          </a:endParaRPr>
        </a:p>
      </dsp:txBody>
      <dsp:txXfrm>
        <a:off x="696565" y="1435740"/>
        <a:ext cx="3224253" cy="410361"/>
      </dsp:txXfrm>
    </dsp:sp>
    <dsp:sp modelId="{3F72E6B0-6108-487E-AB12-6BB14E69D26B}">
      <dsp:nvSpPr>
        <dsp:cNvPr id="0" name=""/>
        <dsp:cNvSpPr/>
      </dsp:nvSpPr>
      <dsp:spPr>
        <a:xfrm>
          <a:off x="440089" y="1384445"/>
          <a:ext cx="512952" cy="51295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1BB31F-FC17-4FB2-B65E-EA0DF69A1AB2}">
      <dsp:nvSpPr>
        <dsp:cNvPr id="0" name=""/>
        <dsp:cNvSpPr/>
      </dsp:nvSpPr>
      <dsp:spPr>
        <a:xfrm>
          <a:off x="606315" y="2051086"/>
          <a:ext cx="3314504" cy="410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25725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pt-BR" sz="1400" kern="1200" noProof="0" dirty="0">
              <a:latin typeface="Monserrat"/>
            </a:rPr>
            <a:t>Segurança Jurídica</a:t>
          </a:r>
        </a:p>
      </dsp:txBody>
      <dsp:txXfrm>
        <a:off x="606315" y="2051086"/>
        <a:ext cx="3314504" cy="410361"/>
      </dsp:txXfrm>
    </dsp:sp>
    <dsp:sp modelId="{A2EBA1EC-64E6-48CA-A67E-83D4EE6B9033}">
      <dsp:nvSpPr>
        <dsp:cNvPr id="0" name=""/>
        <dsp:cNvSpPr/>
      </dsp:nvSpPr>
      <dsp:spPr>
        <a:xfrm>
          <a:off x="349839" y="1999791"/>
          <a:ext cx="512952" cy="51295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CABAF6-7F25-420F-AAE6-F36F7E2170F2}">
      <dsp:nvSpPr>
        <dsp:cNvPr id="0" name=""/>
        <dsp:cNvSpPr/>
      </dsp:nvSpPr>
      <dsp:spPr>
        <a:xfrm>
          <a:off x="312262" y="2666431"/>
          <a:ext cx="3608557" cy="4103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25725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kern="1200" dirty="0">
              <a:latin typeface="Monserrat"/>
            </a:rPr>
            <a:t>Ambiente tributário mais justo e simples</a:t>
          </a:r>
          <a:endParaRPr lang="en-US" sz="1400" kern="1200" dirty="0">
            <a:latin typeface="Monserrat"/>
          </a:endParaRPr>
        </a:p>
      </dsp:txBody>
      <dsp:txXfrm>
        <a:off x="312262" y="2666431"/>
        <a:ext cx="3608557" cy="410361"/>
      </dsp:txXfrm>
    </dsp:sp>
    <dsp:sp modelId="{D3B497E8-A889-4F07-8999-91D28A800FE9}">
      <dsp:nvSpPr>
        <dsp:cNvPr id="0" name=""/>
        <dsp:cNvSpPr/>
      </dsp:nvSpPr>
      <dsp:spPr>
        <a:xfrm>
          <a:off x="55786" y="2615136"/>
          <a:ext cx="512952" cy="51295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D0DA16-B9A6-47FC-A3AB-52AC40343A39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9386FC-3CBC-4FF8-AEF7-A1C56C18C93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0944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33BBE-5D9E-4634-BED0-3E908A87307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898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CB5E9E-5012-0EE1-2798-4673F9DFB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solidFill>
            <a:srgbClr val="0B233F">
              <a:alpha val="76000"/>
            </a:srgbClr>
          </a:solidFill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633A5C-2ED7-F24E-B940-CDE0C455A4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1CA8E0A-BBBE-ED7D-2ABA-D3E5EF1248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892F5CA-113D-7460-F203-A165BB282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AD67A33-DD1A-7DFD-A633-733E634A9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73862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EAAA2B-5609-DC53-3642-B0E14B058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FB11D44-EF41-D28E-3F68-F0F062CF10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AB3CD6-B193-ACC4-17DD-1A836E977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6E77051-19EF-ED79-A8AE-607566949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B7F2141-BDED-10B7-640B-022DDE8D4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9449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E3A0E7A-4631-D669-596D-C05B419AC9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C8EE6E0-92FB-E524-2C7D-10DAB64A54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CC3E123-2EC7-60C3-4A73-A24549BB1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FC4B891-71B0-29EA-8FEA-D3EE7FE88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472E7FC-E601-9455-8A09-9325FF285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1325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8699C6-6167-B96D-F3D1-E2D9F5DC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F551148-3B9E-2584-F9B3-135A7F3D5F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F95C0E7-FF09-72EB-4332-D1E0696D1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A2A6B57-AA43-4631-95E9-FB032EF43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5F32F89-74CA-CE09-5F5E-6CB29B300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202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C8F116-B2BC-A486-0906-778006F79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A2DE913-D2E5-F52F-845B-95FC8513B6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C284E4B-2476-CE2C-5D5B-52770AB75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FE8FECE-A252-D22F-B9AB-2CE7F0454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C55A3C-28BE-F91F-5D4F-9EF769A45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8430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98283A-799D-3223-274E-990E93374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EFEF5CC-E4D5-A79A-3435-837AEE2B3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E1B75CC1-321C-46F2-D1B8-2F31DD1EF6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88104CB-EEFA-FB6F-1D8F-63FF2F93D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F150189-76E6-804A-A58D-17C3A5F4E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242C353-D14E-B424-AD59-919347BD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29486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8E56F9-70ED-764B-A60E-7CD502AF5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7001727-529D-7DD8-EF63-1CBF92949A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869AC5-8F8A-5BE4-459E-CD26B47A28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D0BBFE8-D50B-F5E5-380F-26FA4FEC83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30F9F57-9CB9-3ED1-75ED-05B2327C48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C8E6E5DF-B7CA-BB69-409D-3F9962E79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C0AE13A9-0CBA-EB1C-C4D3-BD14ECD31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F5FE3474-0686-8F78-335B-E66B54532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3002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118340-868C-2C34-0C49-BF0993DDE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D9CFE7F4-8F6C-7C93-EA5D-65700B57F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F3D936A-693B-5491-0B53-45ACE1DF9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3A97424-DA7A-57F0-439E-D66424AD5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3716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D399CD9-0248-BD48-19E3-DBFD5B923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6D5284F-E431-EC75-38EA-6E90314A5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D9E294A-FF84-7728-64A4-82287D146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3241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5F9F54-0B1E-07C2-42C6-0A796A202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9FD64FB-F5EF-7FBF-2DD0-AEBEB8D61E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7D8ED09-AA1E-267C-629B-5653A44887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8D459DF-CF82-39F2-9F2C-10B19463C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0C91952-D97B-6D3C-6F0D-CE7DB9B37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F90E08B-F15B-8D83-1BA8-D0AB35A7D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9005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CE4DD7-F45D-0CCC-9C1A-2B5BB6C5B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9246B81C-79D7-92D4-8BFD-91811F9D76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524B409-3477-CDFF-0D71-CC6CD74817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21D01DA-BCB4-0F14-8F03-9CECA7EC4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50989F1-9D25-73D7-28CC-34B35F9AF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A3EF11E-E18C-0021-4BFD-5C66863D6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4793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945E10AE-DE31-7BFB-3D98-6E0E01A10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69F0DD0-A071-F5B8-70EA-4D5B0039F3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solidFill>
            <a:srgbClr val="0B233F">
              <a:alpha val="83000"/>
            </a:srgbClr>
          </a:solidFill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60B94AE-054E-E6E3-B08D-3C524D9E7B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D42742E-872B-CD29-F097-B8FB9626B3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742C15F-A720-A04D-F684-267B334B6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0709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D0A48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hyperlink" Target="http://2011.igem.org/Team:Imperial_College_London/Extras/Collaboration" TargetMode="Externa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image" Target="../media/image4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taxcomplexity.org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svg"/><Relationship Id="rId18" Type="http://schemas.openxmlformats.org/officeDocument/2006/relationships/image" Target="../media/image31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diagramData" Target="../diagrams/data1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24.svg"/><Relationship Id="rId5" Type="http://schemas.openxmlformats.org/officeDocument/2006/relationships/diagramColors" Target="../diagrams/colors1.xml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4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6.emf"/><Relationship Id="rId12" Type="http://schemas.openxmlformats.org/officeDocument/2006/relationships/image" Target="../media/image4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9.png"/><Relationship Id="rId5" Type="http://schemas.microsoft.com/office/2007/relationships/hdphoto" Target="../media/hdphoto2.wdp"/><Relationship Id="rId15" Type="http://schemas.openxmlformats.org/officeDocument/2006/relationships/image" Target="../media/image43.svg"/><Relationship Id="rId10" Type="http://schemas.openxmlformats.org/officeDocument/2006/relationships/image" Target="../media/image38.png"/><Relationship Id="rId4" Type="http://schemas.openxmlformats.org/officeDocument/2006/relationships/image" Target="../media/image35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1604" y="981511"/>
            <a:ext cx="10111530" cy="3355597"/>
          </a:xfrm>
        </p:spPr>
        <p:txBody>
          <a:bodyPr>
            <a:normAutofit/>
          </a:bodyPr>
          <a:lstStyle/>
          <a:p>
            <a:br>
              <a:rPr lang="pt-BR" dirty="0"/>
            </a:br>
            <a:r>
              <a:rPr lang="pt-BR" sz="6000" b="0" i="0" dirty="0" err="1">
                <a:solidFill>
                  <a:srgbClr val="DBAC84"/>
                </a:solidFill>
                <a:effectLst/>
                <a:latin typeface="Roboto" panose="02000000000000000000" pitchFamily="2" charset="0"/>
              </a:rPr>
              <a:t>Compliance</a:t>
            </a:r>
            <a:r>
              <a:rPr lang="pt-BR" sz="6000" b="0" i="0" dirty="0">
                <a:solidFill>
                  <a:srgbClr val="DBAC84"/>
                </a:solidFill>
                <a:effectLst/>
                <a:latin typeface="Roboto" panose="02000000000000000000" pitchFamily="2" charset="0"/>
              </a:rPr>
              <a:t> Cooperativo </a:t>
            </a:r>
            <a:br>
              <a:rPr lang="pt-BR" sz="6000" b="0" i="0" dirty="0">
                <a:solidFill>
                  <a:srgbClr val="DBAC84"/>
                </a:solidFill>
                <a:effectLst/>
                <a:latin typeface="Roboto" panose="02000000000000000000" pitchFamily="2" charset="0"/>
              </a:rPr>
            </a:br>
            <a:r>
              <a:rPr lang="pt-BR" sz="2800" dirty="0">
                <a:solidFill>
                  <a:srgbClr val="DBAC84"/>
                </a:solidFill>
                <a:latin typeface="Roboto" panose="02000000000000000000" pitchFamily="2" charset="0"/>
              </a:rPr>
              <a:t>[A experiência internacional e a sua implementação no Brasil]</a:t>
            </a:r>
            <a:r>
              <a:rPr lang="pt-BR" dirty="0"/>
              <a:t>	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32CE946-027A-C608-966E-4102197DA2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1604" y="4094407"/>
            <a:ext cx="10111530" cy="1655762"/>
          </a:xfrm>
        </p:spPr>
        <p:txBody>
          <a:bodyPr>
            <a:normAutofit/>
          </a:bodyPr>
          <a:lstStyle/>
          <a:p>
            <a:r>
              <a:rPr lang="pt-BR" sz="3600" b="1" i="1" dirty="0"/>
              <a:t>Roberta Bordini Prado Landi</a:t>
            </a:r>
          </a:p>
          <a:p>
            <a:r>
              <a:rPr lang="pt-BR" sz="3600" b="1" i="1" dirty="0"/>
              <a:t>Doutora USP/Mestre PUCSP</a:t>
            </a:r>
          </a:p>
        </p:txBody>
      </p:sp>
    </p:spTree>
    <p:extLst>
      <p:ext uri="{BB962C8B-B14F-4D97-AF65-F5344CB8AC3E}">
        <p14:creationId xmlns:p14="http://schemas.microsoft.com/office/powerpoint/2010/main" val="2629046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>
            <a:extLst>
              <a:ext uri="{FF2B5EF4-FFF2-40B4-BE49-F238E27FC236}">
                <a16:creationId xmlns:a16="http://schemas.microsoft.com/office/drawing/2014/main" id="{53F93B57-CC1C-4723-94F3-504C29AD0D65}"/>
              </a:ext>
            </a:extLst>
          </p:cNvPr>
          <p:cNvGrpSpPr/>
          <p:nvPr/>
        </p:nvGrpSpPr>
        <p:grpSpPr>
          <a:xfrm>
            <a:off x="1238175" y="4553780"/>
            <a:ext cx="1495047" cy="777639"/>
            <a:chOff x="1264533" y="5276503"/>
            <a:chExt cx="1495047" cy="777639"/>
          </a:xfrm>
        </p:grpSpPr>
        <p:sp>
          <p:nvSpPr>
            <p:cNvPr id="5" name="Chave Direita 4">
              <a:extLst>
                <a:ext uri="{FF2B5EF4-FFF2-40B4-BE49-F238E27FC236}">
                  <a16:creationId xmlns:a16="http://schemas.microsoft.com/office/drawing/2014/main" id="{D85AA4EC-65B3-41DE-86C4-8883FD060237}"/>
                </a:ext>
              </a:extLst>
            </p:cNvPr>
            <p:cNvSpPr/>
            <p:nvPr/>
          </p:nvSpPr>
          <p:spPr>
            <a:xfrm rot="5400000">
              <a:off x="1847179" y="4693857"/>
              <a:ext cx="329756" cy="1495047"/>
            </a:xfrm>
            <a:prstGeom prst="rightBrac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688">
                <a:solidFill>
                  <a:schemeClr val="bg1"/>
                </a:solidFill>
              </a:endParaRPr>
            </a:p>
          </p:txBody>
        </p:sp>
        <p:sp>
          <p:nvSpPr>
            <p:cNvPr id="6" name="CaixaDeTexto 5">
              <a:extLst>
                <a:ext uri="{FF2B5EF4-FFF2-40B4-BE49-F238E27FC236}">
                  <a16:creationId xmlns:a16="http://schemas.microsoft.com/office/drawing/2014/main" id="{295E4F1F-E39F-4815-92D7-F5BEDE8733EC}"/>
                </a:ext>
              </a:extLst>
            </p:cNvPr>
            <p:cNvSpPr txBox="1"/>
            <p:nvPr/>
          </p:nvSpPr>
          <p:spPr>
            <a:xfrm>
              <a:off x="1676067" y="5673269"/>
              <a:ext cx="671979" cy="38087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pt-BR" sz="1875" b="1" dirty="0">
                  <a:solidFill>
                    <a:schemeClr val="bg1"/>
                  </a:solidFill>
                </a:rPr>
                <a:t>2021</a:t>
              </a:r>
            </a:p>
          </p:txBody>
        </p:sp>
      </p:grpSp>
      <p:grpSp>
        <p:nvGrpSpPr>
          <p:cNvPr id="7" name="Agrupar 6">
            <a:extLst>
              <a:ext uri="{FF2B5EF4-FFF2-40B4-BE49-F238E27FC236}">
                <a16:creationId xmlns:a16="http://schemas.microsoft.com/office/drawing/2014/main" id="{2C8531A9-82F3-4267-A213-364199083613}"/>
              </a:ext>
            </a:extLst>
          </p:cNvPr>
          <p:cNvGrpSpPr/>
          <p:nvPr/>
        </p:nvGrpSpPr>
        <p:grpSpPr>
          <a:xfrm>
            <a:off x="6368401" y="4553779"/>
            <a:ext cx="4532708" cy="799482"/>
            <a:chOff x="7352296" y="5276502"/>
            <a:chExt cx="3159988" cy="629787"/>
          </a:xfrm>
        </p:grpSpPr>
        <p:sp>
          <p:nvSpPr>
            <p:cNvPr id="8" name="Chave Direita 7">
              <a:extLst>
                <a:ext uri="{FF2B5EF4-FFF2-40B4-BE49-F238E27FC236}">
                  <a16:creationId xmlns:a16="http://schemas.microsoft.com/office/drawing/2014/main" id="{FBE185F5-A3DB-4676-B642-271BC9A593F9}"/>
                </a:ext>
              </a:extLst>
            </p:cNvPr>
            <p:cNvSpPr/>
            <p:nvPr/>
          </p:nvSpPr>
          <p:spPr>
            <a:xfrm rot="5400000">
              <a:off x="8815878" y="3812920"/>
              <a:ext cx="232823" cy="3159988"/>
            </a:xfrm>
            <a:prstGeom prst="rightBrac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688">
                <a:solidFill>
                  <a:schemeClr val="bg1"/>
                </a:solidFill>
              </a:endParaRP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F2D9CA2F-1794-403D-A9EE-3DAC1C61FCED}"/>
                </a:ext>
              </a:extLst>
            </p:cNvPr>
            <p:cNvSpPr txBox="1"/>
            <p:nvPr/>
          </p:nvSpPr>
          <p:spPr>
            <a:xfrm>
              <a:off x="8065898" y="5606259"/>
              <a:ext cx="958184" cy="30003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pt-BR" sz="1875" b="1" dirty="0">
                  <a:solidFill>
                    <a:schemeClr val="bg1"/>
                  </a:solidFill>
                </a:rPr>
                <a:t>2023 em diante</a:t>
              </a:r>
            </a:p>
          </p:txBody>
        </p:sp>
      </p:grp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95E3F5FB-0E5D-4C0F-BFEB-A4B61C67E249}"/>
              </a:ext>
            </a:extLst>
          </p:cNvPr>
          <p:cNvGrpSpPr/>
          <p:nvPr/>
        </p:nvGrpSpPr>
        <p:grpSpPr>
          <a:xfrm>
            <a:off x="3182358" y="4553779"/>
            <a:ext cx="2913642" cy="777640"/>
            <a:chOff x="3609014" y="5276502"/>
            <a:chExt cx="3449811" cy="777640"/>
          </a:xfrm>
        </p:grpSpPr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5B94C9EE-EE83-42D5-96C0-44CC8B9CBB78}"/>
                </a:ext>
              </a:extLst>
            </p:cNvPr>
            <p:cNvSpPr txBox="1"/>
            <p:nvPr/>
          </p:nvSpPr>
          <p:spPr>
            <a:xfrm>
              <a:off x="4664994" y="5673269"/>
              <a:ext cx="1337851" cy="38087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875" b="1" dirty="0">
                  <a:solidFill>
                    <a:schemeClr val="bg1"/>
                  </a:solidFill>
                </a:rPr>
                <a:t>2022</a:t>
              </a:r>
            </a:p>
          </p:txBody>
        </p:sp>
        <p:sp>
          <p:nvSpPr>
            <p:cNvPr id="12" name="Chave Direita 11">
              <a:extLst>
                <a:ext uri="{FF2B5EF4-FFF2-40B4-BE49-F238E27FC236}">
                  <a16:creationId xmlns:a16="http://schemas.microsoft.com/office/drawing/2014/main" id="{8B24B842-E6E5-4088-8BCA-A11B0813F5E4}"/>
                </a:ext>
              </a:extLst>
            </p:cNvPr>
            <p:cNvSpPr/>
            <p:nvPr/>
          </p:nvSpPr>
          <p:spPr>
            <a:xfrm rot="5400000">
              <a:off x="5169041" y="3716475"/>
              <a:ext cx="329757" cy="3449811"/>
            </a:xfrm>
            <a:prstGeom prst="rightBrac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688">
                <a:solidFill>
                  <a:schemeClr val="bg1"/>
                </a:solidFill>
              </a:endParaRPr>
            </a:p>
          </p:txBody>
        </p:sp>
      </p:grpSp>
      <p:pic>
        <p:nvPicPr>
          <p:cNvPr id="13" name="Imagem 12">
            <a:extLst>
              <a:ext uri="{FF2B5EF4-FFF2-40B4-BE49-F238E27FC236}">
                <a16:creationId xmlns:a16="http://schemas.microsoft.com/office/drawing/2014/main" id="{8F8F0CCF-C7E0-4EC5-8015-A4129629D1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725" y="1241206"/>
            <a:ext cx="10496550" cy="321945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839D4B07-C73B-4345-9D41-D18BD7357D21}"/>
              </a:ext>
            </a:extLst>
          </p:cNvPr>
          <p:cNvSpPr txBox="1"/>
          <p:nvPr/>
        </p:nvSpPr>
        <p:spPr>
          <a:xfrm>
            <a:off x="1564640" y="92597"/>
            <a:ext cx="10627360" cy="769441"/>
          </a:xfrm>
          <a:prstGeom prst="rect">
            <a:avLst/>
          </a:prstGeom>
          <a:solidFill>
            <a:srgbClr val="0B233F"/>
          </a:solidFill>
        </p:spPr>
        <p:txBody>
          <a:bodyPr wrap="square" rtlCol="0">
            <a:spAutoFit/>
          </a:bodyPr>
          <a:lstStyle/>
          <a:p>
            <a:r>
              <a:rPr lang="pt-BR" sz="4400" dirty="0">
                <a:solidFill>
                  <a:schemeClr val="bg1"/>
                </a:solidFill>
              </a:rPr>
              <a:t>      Cronograma do projeto</a:t>
            </a:r>
            <a:endParaRPr lang="pt-BR" sz="3600" dirty="0">
              <a:solidFill>
                <a:schemeClr val="bg1"/>
              </a:solidFill>
            </a:endParaRPr>
          </a:p>
        </p:txBody>
      </p:sp>
      <p:pic>
        <p:nvPicPr>
          <p:cNvPr id="14" name="Imagem 13" descr="Logotipo, nome da empresa&#10;&#10;Descrição gerada automaticamente">
            <a:extLst>
              <a:ext uri="{FF2B5EF4-FFF2-40B4-BE49-F238E27FC236}">
                <a16:creationId xmlns:a16="http://schemas.microsoft.com/office/drawing/2014/main" id="{5A9F9C66-983B-4701-A04C-A091840035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701" y="-42237"/>
            <a:ext cx="1448030" cy="983066"/>
          </a:xfrm>
          <a:prstGeom prst="rect">
            <a:avLst/>
          </a:prstGeom>
          <a:effectLst>
            <a:softEdge rad="127000"/>
          </a:effectLst>
        </p:spPr>
      </p:pic>
      <p:cxnSp>
        <p:nvCxnSpPr>
          <p:cNvPr id="16" name="Straight Connector 4">
            <a:extLst>
              <a:ext uri="{FF2B5EF4-FFF2-40B4-BE49-F238E27FC236}">
                <a16:creationId xmlns:a16="http://schemas.microsoft.com/office/drawing/2014/main" id="{C5850699-8937-4B2B-A1BF-A8D7AEF24F2A}"/>
              </a:ext>
            </a:extLst>
          </p:cNvPr>
          <p:cNvCxnSpPr>
            <a:cxnSpLocks/>
          </p:cNvCxnSpPr>
          <p:nvPr/>
        </p:nvCxnSpPr>
        <p:spPr>
          <a:xfrm flipV="1">
            <a:off x="-19064" y="1002882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03A23DA5-CEFB-4C8D-88B5-901B5449A3CD}"/>
              </a:ext>
            </a:extLst>
          </p:cNvPr>
          <p:cNvSpPr txBox="1"/>
          <p:nvPr/>
        </p:nvSpPr>
        <p:spPr>
          <a:xfrm>
            <a:off x="5051580" y="5406902"/>
            <a:ext cx="2361240" cy="861774"/>
          </a:xfrm>
          <a:prstGeom prst="rect">
            <a:avLst/>
          </a:prstGeom>
          <a:solidFill>
            <a:srgbClr val="0B233F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500" dirty="0">
                <a:solidFill>
                  <a:schemeClr val="bg1"/>
                </a:solidFill>
              </a:rPr>
              <a:t>9 empresas</a:t>
            </a:r>
          </a:p>
          <a:p>
            <a:pPr algn="ctr"/>
            <a:r>
              <a:rPr lang="pt-BR" sz="2500" dirty="0">
                <a:solidFill>
                  <a:schemeClr val="bg1"/>
                </a:solidFill>
              </a:rPr>
              <a:t>na fase teste</a:t>
            </a:r>
          </a:p>
        </p:txBody>
      </p: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id="{28FB1F3F-7632-4FD6-B617-94EED8163EF8}"/>
              </a:ext>
            </a:extLst>
          </p:cNvPr>
          <p:cNvCxnSpPr>
            <a:cxnSpLocks/>
          </p:cNvCxnSpPr>
          <p:nvPr/>
        </p:nvCxnSpPr>
        <p:spPr>
          <a:xfrm>
            <a:off x="6232200" y="4802585"/>
            <a:ext cx="0" cy="720477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6174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9827AED-08E8-4C9F-A495-FC06DC9D4549}"/>
              </a:ext>
            </a:extLst>
          </p:cNvPr>
          <p:cNvSpPr txBox="1"/>
          <p:nvPr/>
        </p:nvSpPr>
        <p:spPr>
          <a:xfrm>
            <a:off x="37518" y="84931"/>
            <a:ext cx="12154482" cy="923330"/>
          </a:xfrm>
          <a:prstGeom prst="rect">
            <a:avLst/>
          </a:prstGeom>
          <a:solidFill>
            <a:srgbClr val="0B233F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>
                <a:solidFill>
                  <a:srgbClr val="FFC00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pt-BR" sz="2700" dirty="0">
                <a:solidFill>
                  <a:schemeClr val="bg1"/>
                </a:solidFill>
              </a:rPr>
              <a:t>CONFIA: melhoria da confiança e do ambiente de negócios</a:t>
            </a:r>
          </a:p>
          <a:p>
            <a:endParaRPr lang="pt-BR" sz="2700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7A47934-CE30-4E95-86CB-46061932858C}"/>
              </a:ext>
            </a:extLst>
          </p:cNvPr>
          <p:cNvCxnSpPr>
            <a:cxnSpLocks/>
          </p:cNvCxnSpPr>
          <p:nvPr/>
        </p:nvCxnSpPr>
        <p:spPr>
          <a:xfrm flipV="1">
            <a:off x="37518" y="774494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9">
            <a:extLst>
              <a:ext uri="{FF2B5EF4-FFF2-40B4-BE49-F238E27FC236}">
                <a16:creationId xmlns:a16="http://schemas.microsoft.com/office/drawing/2014/main" id="{9C8AAF80-DB15-4E38-96C5-54D6C38364D0}"/>
              </a:ext>
            </a:extLst>
          </p:cNvPr>
          <p:cNvSpPr/>
          <p:nvPr/>
        </p:nvSpPr>
        <p:spPr>
          <a:xfrm>
            <a:off x="202124" y="1276228"/>
            <a:ext cx="3963653" cy="70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SITUAÇÃO ATUAL</a:t>
            </a:r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C07BF710-3F86-47B5-8389-BB42631636F9}"/>
              </a:ext>
            </a:extLst>
          </p:cNvPr>
          <p:cNvSpPr/>
          <p:nvPr/>
        </p:nvSpPr>
        <p:spPr>
          <a:xfrm>
            <a:off x="8072079" y="1335488"/>
            <a:ext cx="3963653" cy="70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COMPLIANCE COOPERATIVO</a:t>
            </a:r>
          </a:p>
        </p:txBody>
      </p:sp>
      <p:graphicFrame>
        <p:nvGraphicFramePr>
          <p:cNvPr id="12" name="Diagrama 11">
            <a:extLst>
              <a:ext uri="{FF2B5EF4-FFF2-40B4-BE49-F238E27FC236}">
                <a16:creationId xmlns:a16="http://schemas.microsoft.com/office/drawing/2014/main" id="{49FBE70B-702C-4C71-BED3-EE11C85501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7498177"/>
              </p:ext>
            </p:extLst>
          </p:nvPr>
        </p:nvGraphicFramePr>
        <p:xfrm>
          <a:off x="202124" y="2095699"/>
          <a:ext cx="3963653" cy="34451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4" name="Diagrama 13">
            <a:extLst>
              <a:ext uri="{FF2B5EF4-FFF2-40B4-BE49-F238E27FC236}">
                <a16:creationId xmlns:a16="http://schemas.microsoft.com/office/drawing/2014/main" id="{D41DC1DB-FAF8-4118-A21C-67D842B4E1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4595419"/>
              </p:ext>
            </p:extLst>
          </p:nvPr>
        </p:nvGraphicFramePr>
        <p:xfrm>
          <a:off x="8026223" y="2240669"/>
          <a:ext cx="3963653" cy="32818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5" name="Seta: Divisa 14">
            <a:extLst>
              <a:ext uri="{FF2B5EF4-FFF2-40B4-BE49-F238E27FC236}">
                <a16:creationId xmlns:a16="http://schemas.microsoft.com/office/drawing/2014/main" id="{CE62A752-014C-4C1D-A064-B85E85FF489C}"/>
              </a:ext>
            </a:extLst>
          </p:cNvPr>
          <p:cNvSpPr/>
          <p:nvPr/>
        </p:nvSpPr>
        <p:spPr>
          <a:xfrm>
            <a:off x="4239013" y="3161707"/>
            <a:ext cx="305958" cy="44444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Seta: Divisa 15">
            <a:extLst>
              <a:ext uri="{FF2B5EF4-FFF2-40B4-BE49-F238E27FC236}">
                <a16:creationId xmlns:a16="http://schemas.microsoft.com/office/drawing/2014/main" id="{4F101B0E-B33A-4303-A47B-1C65A7C7C4EC}"/>
              </a:ext>
            </a:extLst>
          </p:cNvPr>
          <p:cNvSpPr/>
          <p:nvPr/>
        </p:nvSpPr>
        <p:spPr>
          <a:xfrm>
            <a:off x="7766121" y="3161707"/>
            <a:ext cx="305958" cy="444442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7" name="Picture 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1C0F040-F570-416A-A602-8772C34B44D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4572350" y="2672076"/>
            <a:ext cx="3093156" cy="151384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999305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tângulo 41">
            <a:extLst>
              <a:ext uri="{FF2B5EF4-FFF2-40B4-BE49-F238E27FC236}">
                <a16:creationId xmlns:a16="http://schemas.microsoft.com/office/drawing/2014/main" id="{CE594A92-3A66-42AE-9503-2074702CF6B1}"/>
              </a:ext>
            </a:extLst>
          </p:cNvPr>
          <p:cNvSpPr/>
          <p:nvPr/>
        </p:nvSpPr>
        <p:spPr>
          <a:xfrm>
            <a:off x="118718" y="1244533"/>
            <a:ext cx="6565998" cy="126236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4971735-3D8F-41E5-BD80-9AB73A70E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18" y="3283428"/>
            <a:ext cx="4109221" cy="3416266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E0F575AB-B4E0-425A-B0DC-FD01FFB95DB4}"/>
              </a:ext>
            </a:extLst>
          </p:cNvPr>
          <p:cNvSpPr/>
          <p:nvPr/>
        </p:nvSpPr>
        <p:spPr>
          <a:xfrm>
            <a:off x="34582" y="2795209"/>
            <a:ext cx="4193341" cy="390448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CF046ECB-392F-4DC6-BFDC-EBC72CE8315A}"/>
              </a:ext>
            </a:extLst>
          </p:cNvPr>
          <p:cNvSpPr/>
          <p:nvPr/>
        </p:nvSpPr>
        <p:spPr>
          <a:xfrm>
            <a:off x="4004774" y="2382523"/>
            <a:ext cx="4025069" cy="160806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DBDDED2E-019E-490C-BA71-7DCAE89C5F59}"/>
              </a:ext>
            </a:extLst>
          </p:cNvPr>
          <p:cNvSpPr/>
          <p:nvPr/>
        </p:nvSpPr>
        <p:spPr>
          <a:xfrm>
            <a:off x="8412720" y="2433587"/>
            <a:ext cx="3599131" cy="426610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6E892B02-54DE-48B3-B535-C02F52660F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5884" y="2851874"/>
            <a:ext cx="3430653" cy="3847820"/>
          </a:xfrm>
          <a:prstGeom prst="rect">
            <a:avLst/>
          </a:prstGeom>
        </p:spPr>
      </p:pic>
      <p:sp>
        <p:nvSpPr>
          <p:cNvPr id="37" name="Retângulo 36">
            <a:extLst>
              <a:ext uri="{FF2B5EF4-FFF2-40B4-BE49-F238E27FC236}">
                <a16:creationId xmlns:a16="http://schemas.microsoft.com/office/drawing/2014/main" id="{E92A9389-06FD-4741-A5DD-3706D848B4E5}"/>
              </a:ext>
            </a:extLst>
          </p:cNvPr>
          <p:cNvSpPr/>
          <p:nvPr/>
        </p:nvSpPr>
        <p:spPr>
          <a:xfrm>
            <a:off x="4351897" y="4577536"/>
            <a:ext cx="4704087" cy="172640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13DF5B83-C780-40F3-B4C8-0C43E1832ABC}"/>
              </a:ext>
            </a:extLst>
          </p:cNvPr>
          <p:cNvSpPr/>
          <p:nvPr/>
        </p:nvSpPr>
        <p:spPr>
          <a:xfrm>
            <a:off x="7072985" y="1240183"/>
            <a:ext cx="4245916" cy="938961"/>
          </a:xfrm>
          <a:prstGeom prst="rect">
            <a:avLst/>
          </a:prstGeom>
          <a:solidFill>
            <a:srgbClr val="FDF3ED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5A17BF3-940C-4B60-9BB0-1B85930B0C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718" y="2853180"/>
            <a:ext cx="1362075" cy="333375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2F62E79D-88D0-4F61-B00A-BB5C08D4FB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7477" y="2854875"/>
            <a:ext cx="3952366" cy="1135710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57ADB63A-896E-4318-AB31-A5DF520C4F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04774" y="2380103"/>
            <a:ext cx="964953" cy="422665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8061A712-92A3-4E18-831C-01A75D45B1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5884" y="2455379"/>
            <a:ext cx="2000250" cy="361950"/>
          </a:xfrm>
          <a:prstGeom prst="rect">
            <a:avLst/>
          </a:prstGeom>
        </p:spPr>
      </p:pic>
      <p:cxnSp>
        <p:nvCxnSpPr>
          <p:cNvPr id="24" name="Straight Connector 12">
            <a:extLst>
              <a:ext uri="{FF2B5EF4-FFF2-40B4-BE49-F238E27FC236}">
                <a16:creationId xmlns:a16="http://schemas.microsoft.com/office/drawing/2014/main" id="{50FE0A85-59FB-4DF9-BA18-6FEEC678311D}"/>
              </a:ext>
            </a:extLst>
          </p:cNvPr>
          <p:cNvCxnSpPr>
            <a:cxnSpLocks/>
          </p:cNvCxnSpPr>
          <p:nvPr/>
        </p:nvCxnSpPr>
        <p:spPr>
          <a:xfrm flipV="1">
            <a:off x="34582" y="888007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14">
            <a:extLst>
              <a:ext uri="{FF2B5EF4-FFF2-40B4-BE49-F238E27FC236}">
                <a16:creationId xmlns:a16="http://schemas.microsoft.com/office/drawing/2014/main" id="{BDA998E9-7F89-4E49-8EB6-0FA47FF04A7D}"/>
              </a:ext>
            </a:extLst>
          </p:cNvPr>
          <p:cNvSpPr txBox="1"/>
          <p:nvPr/>
        </p:nvSpPr>
        <p:spPr>
          <a:xfrm>
            <a:off x="34582" y="92421"/>
            <a:ext cx="12157418" cy="769441"/>
          </a:xfrm>
          <a:prstGeom prst="rect">
            <a:avLst/>
          </a:prstGeom>
          <a:solidFill>
            <a:srgbClr val="0B233F"/>
          </a:solidFill>
        </p:spPr>
        <p:txBody>
          <a:bodyPr wrap="square" rtlCol="0">
            <a:spAutoFit/>
          </a:bodyPr>
          <a:lstStyle/>
          <a:p>
            <a:r>
              <a:rPr lang="pt-BR" sz="2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 complexidade do sistema tributário brasileiro gera insegurança jurídica e prejudica atratividade de investimento internacional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70BEC65E-D23D-4511-A89A-D342BFD6B5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5559" y="1523934"/>
            <a:ext cx="4193341" cy="655210"/>
          </a:xfrm>
          <a:prstGeom prst="rect">
            <a:avLst/>
          </a:prstGeom>
        </p:spPr>
      </p:pic>
      <p:pic>
        <p:nvPicPr>
          <p:cNvPr id="31" name="Imagem 30">
            <a:extLst>
              <a:ext uri="{FF2B5EF4-FFF2-40B4-BE49-F238E27FC236}">
                <a16:creationId xmlns:a16="http://schemas.microsoft.com/office/drawing/2014/main" id="{216621BD-14E3-40AB-BE94-0462B22C08B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17240" y="1269492"/>
            <a:ext cx="1850489" cy="254442"/>
          </a:xfrm>
          <a:prstGeom prst="rect">
            <a:avLst/>
          </a:prstGeom>
        </p:spPr>
      </p:pic>
      <p:pic>
        <p:nvPicPr>
          <p:cNvPr id="34" name="Imagem 33">
            <a:extLst>
              <a:ext uri="{FF2B5EF4-FFF2-40B4-BE49-F238E27FC236}">
                <a16:creationId xmlns:a16="http://schemas.microsoft.com/office/drawing/2014/main" id="{06E50468-3578-4884-934B-CB60BB49130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22557" y="5151682"/>
            <a:ext cx="4633427" cy="1152260"/>
          </a:xfrm>
          <a:prstGeom prst="rect">
            <a:avLst/>
          </a:prstGeom>
        </p:spPr>
      </p:pic>
      <p:pic>
        <p:nvPicPr>
          <p:cNvPr id="36" name="Imagem 35">
            <a:extLst>
              <a:ext uri="{FF2B5EF4-FFF2-40B4-BE49-F238E27FC236}">
                <a16:creationId xmlns:a16="http://schemas.microsoft.com/office/drawing/2014/main" id="{8D809374-2ABC-41B3-9B27-87D0A376B61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51050" y="4577536"/>
            <a:ext cx="881433" cy="617003"/>
          </a:xfrm>
          <a:prstGeom prst="rect">
            <a:avLst/>
          </a:prstGeom>
        </p:spPr>
      </p:pic>
      <p:pic>
        <p:nvPicPr>
          <p:cNvPr id="39" name="Imagem 38">
            <a:extLst>
              <a:ext uri="{FF2B5EF4-FFF2-40B4-BE49-F238E27FC236}">
                <a16:creationId xmlns:a16="http://schemas.microsoft.com/office/drawing/2014/main" id="{483FD865-9203-491C-BA5B-E49721215AD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84032" y="1647551"/>
            <a:ext cx="6500684" cy="735551"/>
          </a:xfrm>
          <a:prstGeom prst="rect">
            <a:avLst/>
          </a:prstGeom>
        </p:spPr>
      </p:pic>
      <p:pic>
        <p:nvPicPr>
          <p:cNvPr id="41" name="Imagem 40">
            <a:extLst>
              <a:ext uri="{FF2B5EF4-FFF2-40B4-BE49-F238E27FC236}">
                <a16:creationId xmlns:a16="http://schemas.microsoft.com/office/drawing/2014/main" id="{BCE616FD-0913-4F93-906E-051449D1995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9386" y="1271376"/>
            <a:ext cx="1376721" cy="377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705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761B6E-2714-45D2-933E-E0E5D54DFB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088" y="1623436"/>
            <a:ext cx="4155606" cy="3362727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Em estudo comparativo sobre a </a:t>
            </a:r>
            <a:r>
              <a:rPr lang="pt-BR" sz="24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complexidade fiscal </a:t>
            </a: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o Brasil ocupa a </a:t>
            </a:r>
            <a:r>
              <a:rPr lang="pt-BR" sz="24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60ª posição</a:t>
            </a:r>
            <a:r>
              <a:rPr lang="pt-BR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t-BR" sz="2400" dirty="0">
                <a:solidFill>
                  <a:schemeClr val="bg1"/>
                </a:solidFill>
                <a:latin typeface="Century Gothic" panose="020B0502020202020204" pitchFamily="34" charset="0"/>
              </a:rPr>
              <a:t>(de 69 países pesquisados), estando na penúltima posição se comparado com os demais países da América do Sul (a frente apenas da Colômbia</a:t>
            </a:r>
            <a:r>
              <a:rPr lang="pt-BR" sz="2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)</a:t>
            </a:r>
            <a:endParaRPr lang="en-US" sz="2400" kern="1200" dirty="0">
              <a:solidFill>
                <a:srgbClr val="FFC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EF2F74BB-BA52-4E65-AE9F-BC4D1C51E4F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500"/>
                    </a14:imgEffect>
                    <a14:imgEffect>
                      <a14:saturation sat="12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54296" y="998388"/>
            <a:ext cx="7214616" cy="4833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TextBox 6">
            <a:extLst>
              <a:ext uri="{FF2B5EF4-FFF2-40B4-BE49-F238E27FC236}">
                <a16:creationId xmlns:a16="http://schemas.microsoft.com/office/drawing/2014/main" id="{A982FEC8-FEA2-4EF8-8B43-E50A698B74CC}"/>
              </a:ext>
            </a:extLst>
          </p:cNvPr>
          <p:cNvSpPr txBox="1"/>
          <p:nvPr/>
        </p:nvSpPr>
        <p:spPr>
          <a:xfrm>
            <a:off x="4567245" y="6021924"/>
            <a:ext cx="638523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Fonte: </a:t>
            </a:r>
            <a:r>
              <a:rPr lang="pt-BR" sz="900" dirty="0">
                <a:solidFill>
                  <a:schemeClr val="bg1"/>
                </a:solidFill>
                <a:latin typeface="Century Gothic" panose="020B0502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taxcomplexity.org/</a:t>
            </a:r>
            <a:r>
              <a:rPr lang="pt-BR" sz="900" dirty="0">
                <a:solidFill>
                  <a:schemeClr val="bg1"/>
                </a:solidFill>
                <a:latin typeface="Century Gothic" panose="020B0502020202020204" pitchFamily="34" charset="0"/>
              </a:rPr>
              <a:t> (dados de 2020).</a:t>
            </a:r>
          </a:p>
          <a:p>
            <a:r>
              <a:rPr lang="pt-BR" sz="900" i="1" dirty="0">
                <a:solidFill>
                  <a:schemeClr val="bg1"/>
                </a:solidFill>
                <a:latin typeface="Century Gothic" panose="020B0502020202020204" pitchFamily="34" charset="0"/>
              </a:rPr>
              <a:t>*Brasil encontra-se em melhor posição apenas em relação ao Paquistão, Filipinas, Ucrânia, Costa Rica, Índia, Bélgica, Colômbia, Itália e Croácia.</a:t>
            </a:r>
          </a:p>
          <a:p>
            <a:endParaRPr lang="pt-BR" sz="9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endParaRPr lang="pt-BR" sz="9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005FCEB-B3C1-4BF0-8865-FDED0EA08FEA}"/>
              </a:ext>
            </a:extLst>
          </p:cNvPr>
          <p:cNvSpPr/>
          <p:nvPr/>
        </p:nvSpPr>
        <p:spPr>
          <a:xfrm>
            <a:off x="323088" y="0"/>
            <a:ext cx="11868912" cy="784830"/>
          </a:xfrm>
          <a:prstGeom prst="rect">
            <a:avLst/>
          </a:prstGeom>
          <a:solidFill>
            <a:srgbClr val="0B2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1551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30A7EC0E-33EE-4845-9E8E-D7863D64A763}"/>
              </a:ext>
            </a:extLst>
          </p:cNvPr>
          <p:cNvSpPr/>
          <p:nvPr/>
        </p:nvSpPr>
        <p:spPr>
          <a:xfrm>
            <a:off x="6314336" y="1066512"/>
            <a:ext cx="4217438" cy="531023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4" name="Imagem 13">
            <a:extLst>
              <a:ext uri="{FF2B5EF4-FFF2-40B4-BE49-F238E27FC236}">
                <a16:creationId xmlns:a16="http://schemas.microsoft.com/office/drawing/2014/main" id="{56021AB1-74DC-4D07-A737-BBBD9855B9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2513" y="1168400"/>
            <a:ext cx="1057275" cy="409575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A1203739-5DEE-403D-9D60-E85DE3859D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2513" y="1521968"/>
            <a:ext cx="3876675" cy="4724400"/>
          </a:xfrm>
          <a:prstGeom prst="rect">
            <a:avLst/>
          </a:prstGeom>
        </p:spPr>
      </p:pic>
      <p:sp>
        <p:nvSpPr>
          <p:cNvPr id="16" name="Retângulo 15">
            <a:extLst>
              <a:ext uri="{FF2B5EF4-FFF2-40B4-BE49-F238E27FC236}">
                <a16:creationId xmlns:a16="http://schemas.microsoft.com/office/drawing/2014/main" id="{B8F1D1A8-E0A9-4A00-A475-4268379E515B}"/>
              </a:ext>
            </a:extLst>
          </p:cNvPr>
          <p:cNvSpPr/>
          <p:nvPr/>
        </p:nvSpPr>
        <p:spPr>
          <a:xfrm>
            <a:off x="9971936" y="1412862"/>
            <a:ext cx="327252" cy="165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A67202EB-1DF2-497D-8B18-53C880805E5D}"/>
              </a:ext>
            </a:extLst>
          </p:cNvPr>
          <p:cNvSpPr txBox="1">
            <a:spLocks/>
          </p:cNvSpPr>
          <p:nvPr/>
        </p:nvSpPr>
        <p:spPr>
          <a:xfrm>
            <a:off x="1100225" y="1591989"/>
            <a:ext cx="3600860" cy="36740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pt-BR" sz="20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pt-BR" sz="23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. </a:t>
            </a:r>
            <a:r>
              <a:rPr lang="pt-BR" sz="23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Clareza</a:t>
            </a:r>
            <a:r>
              <a:rPr lang="pt-BR" sz="2000" dirty="0">
                <a:solidFill>
                  <a:srgbClr val="FFC000"/>
                </a:solidFill>
                <a:latin typeface="Century Gothic" panose="020B0502020202020204" pitchFamily="34" charset="0"/>
              </a:rPr>
              <a:t> </a:t>
            </a:r>
            <a:r>
              <a:rPr lang="pt-BR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para  tratamento de incertezas fiscais</a:t>
            </a:r>
          </a:p>
          <a:p>
            <a:br>
              <a:rPr lang="pt-BR" sz="20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pt-BR" sz="23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. </a:t>
            </a:r>
            <a:r>
              <a:rPr lang="pt-BR" sz="23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Complexidade do processo </a:t>
            </a:r>
            <a:r>
              <a:rPr lang="pt-BR" sz="2000" dirty="0">
                <a:solidFill>
                  <a:schemeClr val="bg1"/>
                </a:solidFill>
                <a:latin typeface="Century Gothic" panose="020B0502020202020204" pitchFamily="34" charset="0"/>
              </a:rPr>
              <a:t>administrativo e judicial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97F43C4-C6C9-485E-A22F-C6F8EDDDC45B}"/>
              </a:ext>
            </a:extLst>
          </p:cNvPr>
          <p:cNvSpPr txBox="1"/>
          <p:nvPr/>
        </p:nvSpPr>
        <p:spPr>
          <a:xfrm>
            <a:off x="193040" y="214710"/>
            <a:ext cx="11998960" cy="492443"/>
          </a:xfrm>
          <a:prstGeom prst="rect">
            <a:avLst/>
          </a:prstGeom>
          <a:solidFill>
            <a:srgbClr val="0B233F"/>
          </a:solidFill>
        </p:spPr>
        <p:txBody>
          <a:bodyPr wrap="square">
            <a:spAutoFit/>
          </a:bodyPr>
          <a:lstStyle/>
          <a:p>
            <a:r>
              <a:rPr lang="pt-BR" sz="2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De 2016 a 2020 o Brasil teve piora em índices relevantes 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51269097-19D5-4174-997B-71C57AB2EC79}"/>
              </a:ext>
            </a:extLst>
          </p:cNvPr>
          <p:cNvCxnSpPr>
            <a:cxnSpLocks/>
          </p:cNvCxnSpPr>
          <p:nvPr/>
        </p:nvCxnSpPr>
        <p:spPr>
          <a:xfrm flipV="1">
            <a:off x="37518" y="774494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8704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4">
            <a:extLst>
              <a:ext uri="{FF2B5EF4-FFF2-40B4-BE49-F238E27FC236}">
                <a16:creationId xmlns:a16="http://schemas.microsoft.com/office/drawing/2014/main" id="{6274B68D-4B64-49B0-8792-B08725B0E034}"/>
              </a:ext>
            </a:extLst>
          </p:cNvPr>
          <p:cNvSpPr txBox="1"/>
          <p:nvPr/>
        </p:nvSpPr>
        <p:spPr>
          <a:xfrm>
            <a:off x="42154" y="45527"/>
            <a:ext cx="12149846" cy="1107996"/>
          </a:xfrm>
          <a:prstGeom prst="rect">
            <a:avLst/>
          </a:prstGeom>
          <a:solidFill>
            <a:srgbClr val="0B233F"/>
          </a:solidFill>
        </p:spPr>
        <p:txBody>
          <a:bodyPr wrap="square" rtlCol="0">
            <a:spAutoFit/>
          </a:bodyPr>
          <a:lstStyle/>
          <a:p>
            <a:r>
              <a:rPr lang="pt-BR" sz="2200" b="1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rPr>
              <a:t>A análise do comparativo apenas em relação aos índices de complexidade relativos ao </a:t>
            </a:r>
            <a:r>
              <a:rPr lang="en-US" sz="2200" b="1" i="1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rPr>
              <a:t>guidance</a:t>
            </a:r>
            <a:r>
              <a:rPr lang="pt-BR" sz="2200" b="1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rPr>
              <a:t> e </a:t>
            </a:r>
            <a:r>
              <a:rPr lang="pt-BR" sz="2200" b="1" i="1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rPr>
              <a:t>appeals</a:t>
            </a:r>
            <a:r>
              <a:rPr lang="pt-BR" sz="2200" b="1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rPr>
              <a:t> coloca o Brasil em último lugar em relação a todos os países pesquisados para o ano de 2020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8EA0B62-458A-45D1-BBEB-D1EB8926824D}"/>
              </a:ext>
            </a:extLst>
          </p:cNvPr>
          <p:cNvSpPr/>
          <p:nvPr/>
        </p:nvSpPr>
        <p:spPr>
          <a:xfrm>
            <a:off x="9895756" y="4383833"/>
            <a:ext cx="277174" cy="229247"/>
          </a:xfrm>
          <a:prstGeom prst="rect">
            <a:avLst/>
          </a:prstGeom>
          <a:solidFill>
            <a:srgbClr val="870B3D"/>
          </a:solidFill>
          <a:ln>
            <a:solidFill>
              <a:srgbClr val="870B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61E585BD-52CD-42AE-B421-B91DEE83A311}"/>
              </a:ext>
            </a:extLst>
          </p:cNvPr>
          <p:cNvSpPr txBox="1"/>
          <p:nvPr/>
        </p:nvSpPr>
        <p:spPr>
          <a:xfrm>
            <a:off x="10197528" y="4330757"/>
            <a:ext cx="21230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rPr>
              <a:t>Países OCDE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AB0AA66F-B50C-4CD8-ACEE-817FEDA03BC1}"/>
              </a:ext>
            </a:extLst>
          </p:cNvPr>
          <p:cNvSpPr txBox="1"/>
          <p:nvPr/>
        </p:nvSpPr>
        <p:spPr>
          <a:xfrm>
            <a:off x="42154" y="6312928"/>
            <a:ext cx="79037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0" i="0" cap="all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INDEX:</a:t>
            </a:r>
          </a:p>
          <a:p>
            <a:pPr algn="l"/>
            <a:r>
              <a:rPr lang="en-US" sz="800" b="0" i="0" cap="all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“GUIDANCE:  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Guidance provided by the tax authority or any other law to resolve uncertain tax issues</a:t>
            </a:r>
          </a:p>
          <a:p>
            <a:pPr algn="l"/>
            <a:r>
              <a:rPr lang="en-US" sz="800" i="0" cap="all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APPEALS: 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Century Gothic" panose="020B0502020202020204" pitchFamily="34" charset="0"/>
              </a:rPr>
              <a:t>Process of challenging a tax assessment. It begins with the filing of a tax appeal and ends with its resolution at the administrative or judicial appeal level.”</a:t>
            </a:r>
          </a:p>
          <a:p>
            <a:pPr algn="l"/>
            <a:endParaRPr lang="en-US" sz="800" b="0" i="0" dirty="0">
              <a:solidFill>
                <a:schemeClr val="bg1"/>
              </a:solidFill>
              <a:effectLst/>
              <a:latin typeface="Century Gothic" panose="020B0502020202020204" pitchFamily="34" charset="0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B8C1E8C6-5933-4744-A6B4-E3BB71AEBA67}"/>
              </a:ext>
            </a:extLst>
          </p:cNvPr>
          <p:cNvSpPr/>
          <p:nvPr/>
        </p:nvSpPr>
        <p:spPr>
          <a:xfrm>
            <a:off x="1397042" y="1481401"/>
            <a:ext cx="8368249" cy="46666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5B75A403-69B3-4204-8287-1CBA8873ED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1989" y="1648847"/>
            <a:ext cx="8273302" cy="4410480"/>
          </a:xfrm>
          <a:prstGeom prst="rect">
            <a:avLst/>
          </a:prstGeom>
          <a:effectLst/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23F0628F-D47C-4027-8E75-63B5EFC7028D}"/>
              </a:ext>
            </a:extLst>
          </p:cNvPr>
          <p:cNvSpPr/>
          <p:nvPr/>
        </p:nvSpPr>
        <p:spPr>
          <a:xfrm>
            <a:off x="9895756" y="4080235"/>
            <a:ext cx="277174" cy="229247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6ED15D9A-0D7E-46FC-A876-8C1648722E26}"/>
              </a:ext>
            </a:extLst>
          </p:cNvPr>
          <p:cNvSpPr txBox="1"/>
          <p:nvPr/>
        </p:nvSpPr>
        <p:spPr>
          <a:xfrm>
            <a:off x="10172930" y="4059082"/>
            <a:ext cx="21230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rPr>
              <a:t>Países América do Sul</a:t>
            </a:r>
          </a:p>
        </p:txBody>
      </p:sp>
      <p:cxnSp>
        <p:nvCxnSpPr>
          <p:cNvPr id="10" name="Straight Connector 4">
            <a:extLst>
              <a:ext uri="{FF2B5EF4-FFF2-40B4-BE49-F238E27FC236}">
                <a16:creationId xmlns:a16="http://schemas.microsoft.com/office/drawing/2014/main" id="{515B8E1F-1F55-4A5E-9004-17624B17D544}"/>
              </a:ext>
            </a:extLst>
          </p:cNvPr>
          <p:cNvCxnSpPr>
            <a:cxnSpLocks/>
          </p:cNvCxnSpPr>
          <p:nvPr/>
        </p:nvCxnSpPr>
        <p:spPr>
          <a:xfrm flipV="1">
            <a:off x="0" y="1183499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6516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2" name="Straight Connector 12">
            <a:extLst>
              <a:ext uri="{FF2B5EF4-FFF2-40B4-BE49-F238E27FC236}">
                <a16:creationId xmlns:a16="http://schemas.microsoft.com/office/drawing/2014/main" id="{1D6C875D-A1CD-4E0A-A126-90A343A42835}"/>
              </a:ext>
            </a:extLst>
          </p:cNvPr>
          <p:cNvCxnSpPr>
            <a:cxnSpLocks/>
          </p:cNvCxnSpPr>
          <p:nvPr/>
        </p:nvCxnSpPr>
        <p:spPr>
          <a:xfrm flipV="1">
            <a:off x="34582" y="888007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4">
            <a:extLst>
              <a:ext uri="{FF2B5EF4-FFF2-40B4-BE49-F238E27FC236}">
                <a16:creationId xmlns:a16="http://schemas.microsoft.com/office/drawing/2014/main" id="{84BB217A-DC23-4E42-B0C7-7D7292D9C9FD}"/>
              </a:ext>
            </a:extLst>
          </p:cNvPr>
          <p:cNvSpPr txBox="1"/>
          <p:nvPr/>
        </p:nvSpPr>
        <p:spPr>
          <a:xfrm>
            <a:off x="34582" y="93458"/>
            <a:ext cx="12157419" cy="830997"/>
          </a:xfrm>
          <a:prstGeom prst="rect">
            <a:avLst/>
          </a:prstGeom>
          <a:solidFill>
            <a:srgbClr val="0B233F"/>
          </a:solidFill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 que fazer para melhorar esse índice, gerar segurança jurídica e atratividade para o investimento internacional?</a:t>
            </a:r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E8691A83-48DE-47C2-8162-DB0663D390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4308939"/>
              </p:ext>
            </p:extLst>
          </p:nvPr>
        </p:nvGraphicFramePr>
        <p:xfrm>
          <a:off x="407133" y="-225846"/>
          <a:ext cx="10954139" cy="41593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Gráfico 3" descr="Documento estrutura de tópicos">
            <a:extLst>
              <a:ext uri="{FF2B5EF4-FFF2-40B4-BE49-F238E27FC236}">
                <a16:creationId xmlns:a16="http://schemas.microsoft.com/office/drawing/2014/main" id="{42A25231-0189-4391-B811-DE2CBB55AA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9618" y="1572573"/>
            <a:ext cx="505758" cy="487200"/>
          </a:xfrm>
          <a:prstGeom prst="rect">
            <a:avLst/>
          </a:prstGeom>
        </p:spPr>
      </p:pic>
      <p:sp>
        <p:nvSpPr>
          <p:cNvPr id="105" name="Shape 2798">
            <a:extLst>
              <a:ext uri="{FF2B5EF4-FFF2-40B4-BE49-F238E27FC236}">
                <a16:creationId xmlns:a16="http://schemas.microsoft.com/office/drawing/2014/main" id="{2B78D6B7-A8A8-472D-B7E9-62B8B129A1DC}"/>
              </a:ext>
            </a:extLst>
          </p:cNvPr>
          <p:cNvSpPr/>
          <p:nvPr/>
        </p:nvSpPr>
        <p:spPr>
          <a:xfrm>
            <a:off x="4012799" y="1680203"/>
            <a:ext cx="646922" cy="3776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chemeClr val="accent4">
              <a:lumMod val="50000"/>
            </a:schemeClr>
          </a:solidFill>
          <a:ln w="12700">
            <a:solidFill>
              <a:schemeClr val="tx1">
                <a:lumMod val="75000"/>
                <a:lumOff val="25000"/>
              </a:schemeClr>
            </a:solidFill>
            <a:miter lim="400000"/>
          </a:ln>
        </p:spPr>
        <p:txBody>
          <a:bodyPr lIns="38090" tIns="38090" rIns="38090" bIns="3809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pt-BR" sz="2999" dirty="0"/>
          </a:p>
        </p:txBody>
      </p:sp>
      <p:pic>
        <p:nvPicPr>
          <p:cNvPr id="106" name="Picture 4" descr="Receita Federal">
            <a:extLst>
              <a:ext uri="{FF2B5EF4-FFF2-40B4-BE49-F238E27FC236}">
                <a16:creationId xmlns:a16="http://schemas.microsoft.com/office/drawing/2014/main" id="{6DEBA56D-381C-4B4C-A87C-272F17AFE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0742" y="1490152"/>
            <a:ext cx="646922" cy="7273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áfico 5" descr="Empréstimo com preenchimento sólido">
            <a:extLst>
              <a:ext uri="{FF2B5EF4-FFF2-40B4-BE49-F238E27FC236}">
                <a16:creationId xmlns:a16="http://schemas.microsoft.com/office/drawing/2014/main" id="{DC99CE75-F116-4AB6-A065-1DC87F4569A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44867" y="1611267"/>
            <a:ext cx="490936" cy="485095"/>
          </a:xfrm>
          <a:prstGeom prst="rect">
            <a:avLst/>
          </a:prstGeom>
        </p:spPr>
      </p:pic>
      <p:pic>
        <p:nvPicPr>
          <p:cNvPr id="8" name="Gráfico 7" descr="Balança da justiça com preenchimento sólido">
            <a:extLst>
              <a:ext uri="{FF2B5EF4-FFF2-40B4-BE49-F238E27FC236}">
                <a16:creationId xmlns:a16="http://schemas.microsoft.com/office/drawing/2014/main" id="{79BC37CB-7225-457F-936A-A9D093E3283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27625" y="1600699"/>
            <a:ext cx="457200" cy="457200"/>
          </a:xfrm>
          <a:prstGeom prst="rect">
            <a:avLst/>
          </a:prstGeom>
        </p:spPr>
      </p:pic>
      <p:pic>
        <p:nvPicPr>
          <p:cNvPr id="12" name="Gráfico 11" descr="Perguntas com preenchimento sólido">
            <a:extLst>
              <a:ext uri="{FF2B5EF4-FFF2-40B4-BE49-F238E27FC236}">
                <a16:creationId xmlns:a16="http://schemas.microsoft.com/office/drawing/2014/main" id="{BFA9B190-04D4-49CF-910E-65FFBCE3ED8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590119" y="1566897"/>
            <a:ext cx="573833" cy="573833"/>
          </a:xfrm>
          <a:prstGeom prst="rect">
            <a:avLst/>
          </a:prstGeom>
        </p:spPr>
      </p:pic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14105E8C-5865-4044-852E-F94F11300753}"/>
              </a:ext>
            </a:extLst>
          </p:cNvPr>
          <p:cNvSpPr/>
          <p:nvPr/>
        </p:nvSpPr>
        <p:spPr>
          <a:xfrm>
            <a:off x="451381" y="1268963"/>
            <a:ext cx="1751277" cy="2226906"/>
          </a:xfrm>
          <a:prstGeom prst="roundRect">
            <a:avLst/>
          </a:prstGeom>
          <a:noFill/>
          <a:ln w="285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8" name="Título 1">
            <a:extLst>
              <a:ext uri="{FF2B5EF4-FFF2-40B4-BE49-F238E27FC236}">
                <a16:creationId xmlns:a16="http://schemas.microsoft.com/office/drawing/2014/main" id="{87B77770-4161-4FAB-8697-14E4837CF63A}"/>
              </a:ext>
            </a:extLst>
          </p:cNvPr>
          <p:cNvSpPr txBox="1">
            <a:spLocks/>
          </p:cNvSpPr>
          <p:nvPr/>
        </p:nvSpPr>
        <p:spPr>
          <a:xfrm>
            <a:off x="732277" y="2670893"/>
            <a:ext cx="1160440" cy="4871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forma Tributária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109" name="Retângulo: Cantos Arredondados 108">
            <a:extLst>
              <a:ext uri="{FF2B5EF4-FFF2-40B4-BE49-F238E27FC236}">
                <a16:creationId xmlns:a16="http://schemas.microsoft.com/office/drawing/2014/main" id="{C6D20765-8CD9-4769-A338-94059BEB88C2}"/>
              </a:ext>
            </a:extLst>
          </p:cNvPr>
          <p:cNvSpPr/>
          <p:nvPr/>
        </p:nvSpPr>
        <p:spPr>
          <a:xfrm>
            <a:off x="2301310" y="1272073"/>
            <a:ext cx="5556588" cy="2226906"/>
          </a:xfrm>
          <a:prstGeom prst="roundRect">
            <a:avLst/>
          </a:prstGeom>
          <a:noFill/>
          <a:ln w="285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0" name="Título 1">
            <a:extLst>
              <a:ext uri="{FF2B5EF4-FFF2-40B4-BE49-F238E27FC236}">
                <a16:creationId xmlns:a16="http://schemas.microsoft.com/office/drawing/2014/main" id="{C1AA5CEB-6E92-44A5-A9A7-59E96BB2F417}"/>
              </a:ext>
            </a:extLst>
          </p:cNvPr>
          <p:cNvSpPr txBox="1">
            <a:spLocks/>
          </p:cNvSpPr>
          <p:nvPr/>
        </p:nvSpPr>
        <p:spPr>
          <a:xfrm>
            <a:off x="2906182" y="2914493"/>
            <a:ext cx="4366166" cy="4871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Governança fiscal</a:t>
            </a:r>
          </a:p>
          <a:p>
            <a:pPr algn="ctr"/>
            <a:r>
              <a:rPr lang="pt-BR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lareza na aplicação das normas</a:t>
            </a:r>
          </a:p>
          <a:p>
            <a:pPr algn="ctr"/>
            <a:r>
              <a:rPr lang="pt-BR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implificação de obrigações acessórias</a:t>
            </a:r>
          </a:p>
          <a:p>
            <a:pPr algn="ctr"/>
            <a:r>
              <a:rPr lang="pt-BR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elhoria na relação fisco-contribuinte</a:t>
            </a:r>
            <a:endParaRPr lang="en-US" sz="15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1" name="Retângulo: Cantos Arredondados 110">
            <a:extLst>
              <a:ext uri="{FF2B5EF4-FFF2-40B4-BE49-F238E27FC236}">
                <a16:creationId xmlns:a16="http://schemas.microsoft.com/office/drawing/2014/main" id="{B9132F57-4F98-436E-864D-EC9C31E75B2C}"/>
              </a:ext>
            </a:extLst>
          </p:cNvPr>
          <p:cNvSpPr/>
          <p:nvPr/>
        </p:nvSpPr>
        <p:spPr>
          <a:xfrm>
            <a:off x="7934293" y="1237389"/>
            <a:ext cx="1612837" cy="2258480"/>
          </a:xfrm>
          <a:prstGeom prst="roundRect">
            <a:avLst/>
          </a:prstGeom>
          <a:noFill/>
          <a:ln w="285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2" name="Título 1">
            <a:extLst>
              <a:ext uri="{FF2B5EF4-FFF2-40B4-BE49-F238E27FC236}">
                <a16:creationId xmlns:a16="http://schemas.microsoft.com/office/drawing/2014/main" id="{15335652-233D-4E62-8F0C-72A3723D9C42}"/>
              </a:ext>
            </a:extLst>
          </p:cNvPr>
          <p:cNvSpPr txBox="1">
            <a:spLocks/>
          </p:cNvSpPr>
          <p:nvPr/>
        </p:nvSpPr>
        <p:spPr>
          <a:xfrm>
            <a:off x="7956894" y="2748456"/>
            <a:ext cx="1612837" cy="4871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forma Processo Administrativo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113" name="Retângulo: Cantos Arredondados 112">
            <a:extLst>
              <a:ext uri="{FF2B5EF4-FFF2-40B4-BE49-F238E27FC236}">
                <a16:creationId xmlns:a16="http://schemas.microsoft.com/office/drawing/2014/main" id="{1A9B6C23-C534-4025-A427-7B9AC197E6AC}"/>
              </a:ext>
            </a:extLst>
          </p:cNvPr>
          <p:cNvSpPr/>
          <p:nvPr/>
        </p:nvSpPr>
        <p:spPr>
          <a:xfrm>
            <a:off x="9641706" y="1223582"/>
            <a:ext cx="1594656" cy="2258480"/>
          </a:xfrm>
          <a:prstGeom prst="roundRect">
            <a:avLst/>
          </a:prstGeom>
          <a:noFill/>
          <a:ln w="285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4" name="Título 1">
            <a:extLst>
              <a:ext uri="{FF2B5EF4-FFF2-40B4-BE49-F238E27FC236}">
                <a16:creationId xmlns:a16="http://schemas.microsoft.com/office/drawing/2014/main" id="{096DB181-8D3F-4329-A7CC-5F54636B19F0}"/>
              </a:ext>
            </a:extLst>
          </p:cNvPr>
          <p:cNvSpPr txBox="1">
            <a:spLocks/>
          </p:cNvSpPr>
          <p:nvPr/>
        </p:nvSpPr>
        <p:spPr>
          <a:xfrm>
            <a:off x="9688413" y="2780632"/>
            <a:ext cx="1448711" cy="4871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15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forma Processo Judicial</a:t>
            </a:r>
            <a:endParaRPr lang="en-US" sz="1500" b="1" dirty="0">
              <a:solidFill>
                <a:schemeClr val="bg1"/>
              </a:solidFill>
            </a:endParaRPr>
          </a:p>
        </p:txBody>
      </p:sp>
      <p:cxnSp>
        <p:nvCxnSpPr>
          <p:cNvPr id="17" name="Conector de Seta Reta 16">
            <a:extLst>
              <a:ext uri="{FF2B5EF4-FFF2-40B4-BE49-F238E27FC236}">
                <a16:creationId xmlns:a16="http://schemas.microsoft.com/office/drawing/2014/main" id="{C8291A0F-AB66-4F92-9A1A-A6E5BB64D57A}"/>
              </a:ext>
            </a:extLst>
          </p:cNvPr>
          <p:cNvCxnSpPr>
            <a:cxnSpLocks/>
          </p:cNvCxnSpPr>
          <p:nvPr/>
        </p:nvCxnSpPr>
        <p:spPr>
          <a:xfrm>
            <a:off x="5071215" y="3583272"/>
            <a:ext cx="0" cy="1138335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Imagem 120">
            <a:extLst>
              <a:ext uri="{FF2B5EF4-FFF2-40B4-BE49-F238E27FC236}">
                <a16:creationId xmlns:a16="http://schemas.microsoft.com/office/drawing/2014/main" id="{860CC726-0364-43F1-A265-3F944DA27B7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79409" y="4721607"/>
            <a:ext cx="2421420" cy="1260858"/>
          </a:xfrm>
          <a:prstGeom prst="rect">
            <a:avLst/>
          </a:prstGeom>
        </p:spPr>
      </p:pic>
      <p:pic>
        <p:nvPicPr>
          <p:cNvPr id="123" name="Imagem 122">
            <a:extLst>
              <a:ext uri="{FF2B5EF4-FFF2-40B4-BE49-F238E27FC236}">
                <a16:creationId xmlns:a16="http://schemas.microsoft.com/office/drawing/2014/main" id="{C755DA4C-521B-4479-AC9C-48CBA4231EC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433859" y="4768287"/>
            <a:ext cx="1291490" cy="952225"/>
          </a:xfrm>
          <a:prstGeom prst="rect">
            <a:avLst/>
          </a:prstGeom>
        </p:spPr>
      </p:pic>
      <p:cxnSp>
        <p:nvCxnSpPr>
          <p:cNvPr id="124" name="Conector de Seta Reta 123">
            <a:extLst>
              <a:ext uri="{FF2B5EF4-FFF2-40B4-BE49-F238E27FC236}">
                <a16:creationId xmlns:a16="http://schemas.microsoft.com/office/drawing/2014/main" id="{A1DD5F83-D6DE-47AC-A126-F5A984374BFB}"/>
              </a:ext>
            </a:extLst>
          </p:cNvPr>
          <p:cNvCxnSpPr>
            <a:cxnSpLocks/>
          </p:cNvCxnSpPr>
          <p:nvPr/>
        </p:nvCxnSpPr>
        <p:spPr>
          <a:xfrm>
            <a:off x="8732322" y="3583272"/>
            <a:ext cx="0" cy="1138335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ector de Seta Reta 124">
            <a:extLst>
              <a:ext uri="{FF2B5EF4-FFF2-40B4-BE49-F238E27FC236}">
                <a16:creationId xmlns:a16="http://schemas.microsoft.com/office/drawing/2014/main" id="{94022EDC-D783-4536-8B79-23EBB0AAA1EA}"/>
              </a:ext>
            </a:extLst>
          </p:cNvPr>
          <p:cNvCxnSpPr>
            <a:cxnSpLocks/>
          </p:cNvCxnSpPr>
          <p:nvPr/>
        </p:nvCxnSpPr>
        <p:spPr>
          <a:xfrm>
            <a:off x="10442115" y="3536155"/>
            <a:ext cx="0" cy="1138335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7" name="Imagem 126">
            <a:extLst>
              <a:ext uri="{FF2B5EF4-FFF2-40B4-BE49-F238E27FC236}">
                <a16:creationId xmlns:a16="http://schemas.microsoft.com/office/drawing/2014/main" id="{5CE42E09-B44E-4035-9EE5-569560504A4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949873" y="4728583"/>
            <a:ext cx="1187252" cy="1677420"/>
          </a:xfrm>
          <a:prstGeom prst="rect">
            <a:avLst/>
          </a:prstGeom>
        </p:spPr>
      </p:pic>
      <p:sp>
        <p:nvSpPr>
          <p:cNvPr id="26" name="Shape 2647">
            <a:extLst>
              <a:ext uri="{FF2B5EF4-FFF2-40B4-BE49-F238E27FC236}">
                <a16:creationId xmlns:a16="http://schemas.microsoft.com/office/drawing/2014/main" id="{1208180C-7588-4B76-B3BD-FB6E79AB9FE9}"/>
              </a:ext>
            </a:extLst>
          </p:cNvPr>
          <p:cNvSpPr/>
          <p:nvPr/>
        </p:nvSpPr>
        <p:spPr>
          <a:xfrm>
            <a:off x="2575209" y="1654237"/>
            <a:ext cx="382170" cy="4421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3" y="20618"/>
                  <a:pt x="6873" y="20838"/>
                  <a:pt x="6873" y="21109"/>
                </a:cubicBezTo>
                <a:cubicBezTo>
                  <a:pt x="6873" y="21381"/>
                  <a:pt x="7093" y="21600"/>
                  <a:pt x="7364" y="21600"/>
                </a:cubicBezTo>
                <a:lnTo>
                  <a:pt x="14236" y="21600"/>
                </a:lnTo>
                <a:cubicBezTo>
                  <a:pt x="14507" y="21600"/>
                  <a:pt x="14727" y="21381"/>
                  <a:pt x="14727" y="21109"/>
                </a:cubicBezTo>
                <a:cubicBezTo>
                  <a:pt x="14727" y="20838"/>
                  <a:pt x="14507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0773" y="5201"/>
                </a:moveTo>
                <a:cubicBezTo>
                  <a:pt x="10712" y="5093"/>
                  <a:pt x="10614" y="5023"/>
                  <a:pt x="10504" y="4986"/>
                </a:cubicBezTo>
                <a:lnTo>
                  <a:pt x="10517" y="4938"/>
                </a:lnTo>
                <a:cubicBezTo>
                  <a:pt x="10483" y="4941"/>
                  <a:pt x="10451" y="4949"/>
                  <a:pt x="10419" y="4957"/>
                </a:cubicBezTo>
                <a:lnTo>
                  <a:pt x="8464" y="4433"/>
                </a:lnTo>
                <a:cubicBezTo>
                  <a:pt x="8343" y="4400"/>
                  <a:pt x="8209" y="4414"/>
                  <a:pt x="8091" y="4482"/>
                </a:cubicBezTo>
                <a:cubicBezTo>
                  <a:pt x="7856" y="4618"/>
                  <a:pt x="7776" y="4918"/>
                  <a:pt x="7912" y="5153"/>
                </a:cubicBezTo>
                <a:cubicBezTo>
                  <a:pt x="7979" y="5270"/>
                  <a:pt x="8088" y="5349"/>
                  <a:pt x="8210" y="5381"/>
                </a:cubicBezTo>
                <a:lnTo>
                  <a:pt x="8965" y="5584"/>
                </a:lnTo>
                <a:cubicBezTo>
                  <a:pt x="8292" y="6116"/>
                  <a:pt x="7855" y="6927"/>
                  <a:pt x="7855" y="7855"/>
                </a:cubicBezTo>
                <a:cubicBezTo>
                  <a:pt x="7855" y="9081"/>
                  <a:pt x="8605" y="10131"/>
                  <a:pt x="9671" y="10574"/>
                </a:cubicBezTo>
                <a:lnTo>
                  <a:pt x="9934" y="9609"/>
                </a:lnTo>
                <a:cubicBezTo>
                  <a:pt x="9286" y="9288"/>
                  <a:pt x="8836" y="8627"/>
                  <a:pt x="8836" y="7855"/>
                </a:cubicBezTo>
                <a:cubicBezTo>
                  <a:pt x="8836" y="7221"/>
                  <a:pt x="9142" y="6665"/>
                  <a:pt x="9609" y="6309"/>
                </a:cubicBezTo>
                <a:lnTo>
                  <a:pt x="9336" y="7331"/>
                </a:lnTo>
                <a:cubicBezTo>
                  <a:pt x="9303" y="7453"/>
                  <a:pt x="9316" y="7586"/>
                  <a:pt x="9384" y="7704"/>
                </a:cubicBezTo>
                <a:cubicBezTo>
                  <a:pt x="9520" y="7938"/>
                  <a:pt x="9820" y="8019"/>
                  <a:pt x="10055" y="7884"/>
                </a:cubicBezTo>
                <a:cubicBezTo>
                  <a:pt x="10172" y="7815"/>
                  <a:pt x="10251" y="7706"/>
                  <a:pt x="10284" y="7585"/>
                </a:cubicBezTo>
                <a:lnTo>
                  <a:pt x="10823" y="5573"/>
                </a:lnTo>
                <a:cubicBezTo>
                  <a:pt x="10855" y="5452"/>
                  <a:pt x="10841" y="5318"/>
                  <a:pt x="10773" y="5201"/>
                </a:cubicBezTo>
                <a:moveTo>
                  <a:pt x="13421" y="10343"/>
                </a:moveTo>
                <a:lnTo>
                  <a:pt x="12630" y="10132"/>
                </a:lnTo>
                <a:cubicBezTo>
                  <a:pt x="13306" y="9598"/>
                  <a:pt x="13745" y="8785"/>
                  <a:pt x="13745" y="7855"/>
                </a:cubicBezTo>
                <a:cubicBezTo>
                  <a:pt x="13745" y="6643"/>
                  <a:pt x="13013" y="5604"/>
                  <a:pt x="11967" y="5152"/>
                </a:cubicBezTo>
                <a:lnTo>
                  <a:pt x="11702" y="6121"/>
                </a:lnTo>
                <a:cubicBezTo>
                  <a:pt x="12330" y="6448"/>
                  <a:pt x="12764" y="7098"/>
                  <a:pt x="12764" y="7855"/>
                </a:cubicBezTo>
                <a:cubicBezTo>
                  <a:pt x="12764" y="8468"/>
                  <a:pt x="12477" y="9008"/>
                  <a:pt x="12035" y="9366"/>
                </a:cubicBezTo>
                <a:lnTo>
                  <a:pt x="12295" y="8394"/>
                </a:lnTo>
                <a:cubicBezTo>
                  <a:pt x="12328" y="8273"/>
                  <a:pt x="12314" y="8139"/>
                  <a:pt x="12246" y="8021"/>
                </a:cubicBezTo>
                <a:cubicBezTo>
                  <a:pt x="12111" y="7786"/>
                  <a:pt x="11811" y="7706"/>
                  <a:pt x="11576" y="7842"/>
                </a:cubicBezTo>
                <a:cubicBezTo>
                  <a:pt x="11458" y="7910"/>
                  <a:pt x="11380" y="8019"/>
                  <a:pt x="11347" y="8140"/>
                </a:cubicBezTo>
                <a:lnTo>
                  <a:pt x="10808" y="10152"/>
                </a:lnTo>
                <a:lnTo>
                  <a:pt x="10808" y="10152"/>
                </a:lnTo>
                <a:cubicBezTo>
                  <a:pt x="10776" y="10273"/>
                  <a:pt x="10789" y="10407"/>
                  <a:pt x="10857" y="10524"/>
                </a:cubicBezTo>
                <a:cubicBezTo>
                  <a:pt x="10920" y="10634"/>
                  <a:pt x="11021" y="10706"/>
                  <a:pt x="11133" y="10742"/>
                </a:cubicBezTo>
                <a:lnTo>
                  <a:pt x="11126" y="10768"/>
                </a:lnTo>
                <a:cubicBezTo>
                  <a:pt x="11142" y="10766"/>
                  <a:pt x="11157" y="10761"/>
                  <a:pt x="11173" y="10758"/>
                </a:cubicBezTo>
                <a:lnTo>
                  <a:pt x="13167" y="11292"/>
                </a:lnTo>
                <a:cubicBezTo>
                  <a:pt x="13288" y="11324"/>
                  <a:pt x="13422" y="11311"/>
                  <a:pt x="13540" y="11243"/>
                </a:cubicBezTo>
                <a:cubicBezTo>
                  <a:pt x="13774" y="11107"/>
                  <a:pt x="13855" y="10807"/>
                  <a:pt x="13719" y="10572"/>
                </a:cubicBezTo>
                <a:cubicBezTo>
                  <a:pt x="13651" y="10455"/>
                  <a:pt x="13542" y="10376"/>
                  <a:pt x="13421" y="10343"/>
                </a:cubicBezTo>
              </a:path>
            </a:pathLst>
          </a:custGeom>
          <a:solidFill>
            <a:schemeClr val="accent4">
              <a:lumMod val="50000"/>
            </a:schemeClr>
          </a:solidFill>
          <a:ln w="12700">
            <a:miter lim="400000"/>
          </a:ln>
        </p:spPr>
        <p:txBody>
          <a:bodyPr lIns="38090" tIns="38090" rIns="38090" bIns="3809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lang="pt-BR" sz="2999" dirty="0"/>
          </a:p>
        </p:txBody>
      </p:sp>
      <p:sp>
        <p:nvSpPr>
          <p:cNvPr id="5" name="Seta: para a Direita 4">
            <a:extLst>
              <a:ext uri="{FF2B5EF4-FFF2-40B4-BE49-F238E27FC236}">
                <a16:creationId xmlns:a16="http://schemas.microsoft.com/office/drawing/2014/main" id="{9CD99885-6350-4E76-AF3D-730C701DE2E7}"/>
              </a:ext>
            </a:extLst>
          </p:cNvPr>
          <p:cNvSpPr/>
          <p:nvPr/>
        </p:nvSpPr>
        <p:spPr>
          <a:xfrm>
            <a:off x="451381" y="3622346"/>
            <a:ext cx="10733583" cy="1116504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solidFill>
                  <a:schemeClr val="bg1"/>
                </a:solidFill>
              </a:rPr>
              <a:t>Transação e Arbitragem</a:t>
            </a:r>
          </a:p>
        </p:txBody>
      </p:sp>
      <p:cxnSp>
        <p:nvCxnSpPr>
          <p:cNvPr id="27" name="Straight Connector 4">
            <a:extLst>
              <a:ext uri="{FF2B5EF4-FFF2-40B4-BE49-F238E27FC236}">
                <a16:creationId xmlns:a16="http://schemas.microsoft.com/office/drawing/2014/main" id="{C320142A-EA6C-4849-BAE2-F060897DEC46}"/>
              </a:ext>
            </a:extLst>
          </p:cNvPr>
          <p:cNvCxnSpPr>
            <a:cxnSpLocks/>
          </p:cNvCxnSpPr>
          <p:nvPr/>
        </p:nvCxnSpPr>
        <p:spPr>
          <a:xfrm flipV="1">
            <a:off x="0" y="1010646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13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08" grpId="0"/>
      <p:bldP spid="109" grpId="0" animBg="1"/>
      <p:bldP spid="110" grpId="0"/>
      <p:bldP spid="111" grpId="0" animBg="1"/>
      <p:bldP spid="112" grpId="0"/>
      <p:bldP spid="113" grpId="0" animBg="1"/>
      <p:bldP spid="114" grpId="0"/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8DF79C-A0CA-418C-8277-A57A22508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300" y="0"/>
            <a:ext cx="11950700" cy="960464"/>
          </a:xfrm>
          <a:solidFill>
            <a:srgbClr val="0B233F"/>
          </a:solidFill>
        </p:spPr>
        <p:txBody>
          <a:bodyPr/>
          <a:lstStyle/>
          <a:p>
            <a:r>
              <a:rPr lang="pt-BR" dirty="0">
                <a:solidFill>
                  <a:srgbClr val="0B233F"/>
                </a:solidFill>
              </a:rPr>
              <a:t>x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5A079A-7DA9-46F0-88F1-62C1B3C97E06}"/>
              </a:ext>
            </a:extLst>
          </p:cNvPr>
          <p:cNvSpPr txBox="1">
            <a:spLocks/>
          </p:cNvSpPr>
          <p:nvPr/>
        </p:nvSpPr>
        <p:spPr>
          <a:xfrm>
            <a:off x="1556740" y="1958598"/>
            <a:ext cx="10393960" cy="7232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br>
              <a:rPr lang="en-US" sz="3200" b="1" dirty="0">
                <a:solidFill>
                  <a:srgbClr val="00507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endParaRPr lang="en-US" sz="3200" dirty="0"/>
          </a:p>
        </p:txBody>
      </p:sp>
      <p:pic>
        <p:nvPicPr>
          <p:cNvPr id="8" name="Imagem 7" descr="Logotipo, nome da empresa&#10;&#10;Descrição gerada automaticamente">
            <a:extLst>
              <a:ext uri="{FF2B5EF4-FFF2-40B4-BE49-F238E27FC236}">
                <a16:creationId xmlns:a16="http://schemas.microsoft.com/office/drawing/2014/main" id="{DF36FCAD-DC6D-42AB-8D8A-5AA2030D90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9227" y="91416"/>
            <a:ext cx="1585355" cy="1076296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B38843F1-AA50-4051-A88F-B7FDA842CDA1}"/>
              </a:ext>
            </a:extLst>
          </p:cNvPr>
          <p:cNvSpPr txBox="1">
            <a:spLocks/>
          </p:cNvSpPr>
          <p:nvPr/>
        </p:nvSpPr>
        <p:spPr>
          <a:xfrm>
            <a:off x="241298" y="1414208"/>
            <a:ext cx="5953127" cy="403812"/>
          </a:xfrm>
          <a:prstGeom prst="rect">
            <a:avLst/>
          </a:prstGeom>
        </p:spPr>
        <p:txBody>
          <a:bodyPr/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0" kern="1200" dirty="0" smtClean="0">
                <a:solidFill>
                  <a:srgbClr val="DA042C"/>
                </a:solidFill>
                <a:latin typeface="+mj-lt"/>
                <a:ea typeface="+mj-ea"/>
                <a:cs typeface="+mj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b="1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O</a:t>
            </a:r>
            <a:r>
              <a:rPr lang="pt-BR" sz="1600" b="1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t-BR" sz="2200" b="1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que é o CONFIA?</a:t>
            </a:r>
          </a:p>
        </p:txBody>
      </p:sp>
      <p:sp>
        <p:nvSpPr>
          <p:cNvPr id="10" name="TextBox 70">
            <a:extLst>
              <a:ext uri="{FF2B5EF4-FFF2-40B4-BE49-F238E27FC236}">
                <a16:creationId xmlns:a16="http://schemas.microsoft.com/office/drawing/2014/main" id="{849E9BBC-F2AF-4DDD-9F62-3396356F5649}"/>
              </a:ext>
            </a:extLst>
          </p:cNvPr>
          <p:cNvSpPr txBox="1"/>
          <p:nvPr/>
        </p:nvSpPr>
        <p:spPr>
          <a:xfrm>
            <a:off x="241298" y="1842692"/>
            <a:ext cx="4837488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t-BR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grama de conformidade cooperativa da Receita Federal, que propõe a melhora no relacionamento fisco - contribuinte</a:t>
            </a:r>
          </a:p>
          <a:p>
            <a:pPr algn="just">
              <a:lnSpc>
                <a:spcPct val="110000"/>
              </a:lnSpc>
            </a:pPr>
            <a:endParaRPr lang="pt-BR" sz="105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Espaço Reservado para Texto 2">
            <a:extLst>
              <a:ext uri="{FF2B5EF4-FFF2-40B4-BE49-F238E27FC236}">
                <a16:creationId xmlns:a16="http://schemas.microsoft.com/office/drawing/2014/main" id="{11E7CB3D-1DE3-418A-B4A1-59F2FD5A4B94}"/>
              </a:ext>
            </a:extLst>
          </p:cNvPr>
          <p:cNvSpPr txBox="1">
            <a:spLocks/>
          </p:cNvSpPr>
          <p:nvPr/>
        </p:nvSpPr>
        <p:spPr>
          <a:xfrm>
            <a:off x="241299" y="2476250"/>
            <a:ext cx="5953127" cy="403812"/>
          </a:xfrm>
          <a:prstGeom prst="rect">
            <a:avLst/>
          </a:prstGeom>
        </p:spPr>
        <p:txBody>
          <a:bodyPr/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0" kern="1200" dirty="0" smtClean="0">
                <a:solidFill>
                  <a:srgbClr val="DA042C"/>
                </a:solidFill>
                <a:latin typeface="+mj-lt"/>
                <a:ea typeface="+mj-ea"/>
                <a:cs typeface="+mj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b="1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Quais são os principais objetivos?</a:t>
            </a:r>
          </a:p>
        </p:txBody>
      </p:sp>
      <p:sp>
        <p:nvSpPr>
          <p:cNvPr id="12" name="TextBox 70">
            <a:extLst>
              <a:ext uri="{FF2B5EF4-FFF2-40B4-BE49-F238E27FC236}">
                <a16:creationId xmlns:a16="http://schemas.microsoft.com/office/drawing/2014/main" id="{00378604-4FDA-4E2E-8E73-5D167556EA6E}"/>
              </a:ext>
            </a:extLst>
          </p:cNvPr>
          <p:cNvSpPr txBox="1"/>
          <p:nvPr/>
        </p:nvSpPr>
        <p:spPr>
          <a:xfrm>
            <a:off x="241299" y="2870635"/>
            <a:ext cx="4657628" cy="20023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mover segurança jurídica, reduzir litigiosidade e melhorar ambiente fiscal e, consequentemente, de negócios.</a:t>
            </a:r>
          </a:p>
          <a:p>
            <a:pPr algn="just"/>
            <a:r>
              <a:rPr lang="pt-BR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incípios:</a:t>
            </a:r>
          </a:p>
          <a:p>
            <a:pPr marL="685800" lvl="1" indent="-228600" algn="just">
              <a:buAutoNum type="arabicPeriod"/>
            </a:pPr>
            <a:r>
              <a:rPr lang="pt-BR" b="1" dirty="0">
                <a:solidFill>
                  <a:schemeClr val="bg1"/>
                </a:solidFill>
                <a:latin typeface="Century Gothic" panose="020B0502020202020204" pitchFamily="34" charset="0"/>
              </a:rPr>
              <a:t>Transparência</a:t>
            </a:r>
          </a:p>
          <a:p>
            <a:pPr marL="685800" lvl="1" indent="-228600" algn="just">
              <a:buAutoNum type="arabicPeriod"/>
            </a:pPr>
            <a:r>
              <a:rPr lang="pt-BR" b="1" dirty="0">
                <a:solidFill>
                  <a:schemeClr val="bg1"/>
                </a:solidFill>
                <a:latin typeface="Century Gothic" panose="020B0502020202020204" pitchFamily="34" charset="0"/>
              </a:rPr>
              <a:t>Confiança </a:t>
            </a:r>
          </a:p>
          <a:p>
            <a:pPr marL="685800" lvl="1" indent="-228600" algn="just">
              <a:buAutoNum type="arabicPeriod"/>
            </a:pPr>
            <a:r>
              <a:rPr lang="pt-BR" b="1" dirty="0">
                <a:solidFill>
                  <a:schemeClr val="bg1"/>
                </a:solidFill>
                <a:latin typeface="Century Gothic" panose="020B0502020202020204" pitchFamily="34" charset="0"/>
              </a:rPr>
              <a:t>Boa Fé</a:t>
            </a:r>
          </a:p>
          <a:p>
            <a:pPr algn="just">
              <a:lnSpc>
                <a:spcPct val="110000"/>
              </a:lnSpc>
            </a:pPr>
            <a:endParaRPr lang="pt-BR" sz="105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just">
              <a:lnSpc>
                <a:spcPct val="110000"/>
              </a:lnSpc>
            </a:pPr>
            <a:endParaRPr lang="pt-BR" sz="105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Espaço Reservado para Texto 2">
            <a:extLst>
              <a:ext uri="{FF2B5EF4-FFF2-40B4-BE49-F238E27FC236}">
                <a16:creationId xmlns:a16="http://schemas.microsoft.com/office/drawing/2014/main" id="{4752BEFC-0004-42EC-8852-6720365544E3}"/>
              </a:ext>
            </a:extLst>
          </p:cNvPr>
          <p:cNvSpPr txBox="1">
            <a:spLocks/>
          </p:cNvSpPr>
          <p:nvPr/>
        </p:nvSpPr>
        <p:spPr>
          <a:xfrm>
            <a:off x="357159" y="4721657"/>
            <a:ext cx="5953127" cy="403812"/>
          </a:xfrm>
          <a:prstGeom prst="rect">
            <a:avLst/>
          </a:prstGeom>
        </p:spPr>
        <p:txBody>
          <a:bodyPr/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800" b="0" kern="1200" dirty="0" smtClean="0">
                <a:solidFill>
                  <a:srgbClr val="DA042C"/>
                </a:solidFill>
                <a:latin typeface="+mj-lt"/>
                <a:ea typeface="+mj-ea"/>
                <a:cs typeface="+mj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2200" b="1" dirty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rPr>
              <a:t>Qual a principal mudança?</a:t>
            </a:r>
          </a:p>
          <a:p>
            <a:endParaRPr lang="pt-BR" sz="2200" b="1" dirty="0">
              <a:solidFill>
                <a:schemeClr val="bg1"/>
              </a:solidFill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4" name="TextBox 70">
            <a:extLst>
              <a:ext uri="{FF2B5EF4-FFF2-40B4-BE49-F238E27FC236}">
                <a16:creationId xmlns:a16="http://schemas.microsoft.com/office/drawing/2014/main" id="{0C008D0E-3412-4C7E-9611-2FF6039CC1BF}"/>
              </a:ext>
            </a:extLst>
          </p:cNvPr>
          <p:cNvSpPr txBox="1"/>
          <p:nvPr/>
        </p:nvSpPr>
        <p:spPr>
          <a:xfrm>
            <a:off x="357159" y="5175882"/>
            <a:ext cx="4533219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BR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LACIONAMENTO</a:t>
            </a:r>
          </a:p>
          <a:p>
            <a:pPr algn="just">
              <a:lnSpc>
                <a:spcPct val="110000"/>
              </a:lnSpc>
            </a:pPr>
            <a:r>
              <a:rPr lang="pt-BR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plicando o conceito de gerenciamento de riscos e analisando o comportamento, o histórico de conformidade e a estrutura de controle fiscal dos contribuintes, a Administração Tributária pode se relacionar da maneira mais eficaz e eficiente com cada contribuinte.</a:t>
            </a:r>
          </a:p>
          <a:p>
            <a:pPr>
              <a:lnSpc>
                <a:spcPct val="110000"/>
              </a:lnSpc>
            </a:pPr>
            <a:endParaRPr lang="pt-BR" sz="105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C223AD5D-C05F-4F81-B74F-F7CAEC69B1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21093" y="229640"/>
            <a:ext cx="1569908" cy="819927"/>
          </a:xfrm>
          <a:prstGeom prst="rect">
            <a:avLst/>
          </a:prstGeom>
        </p:spPr>
      </p:pic>
      <p:pic>
        <p:nvPicPr>
          <p:cNvPr id="17" name="Picture 29">
            <a:extLst>
              <a:ext uri="{FF2B5EF4-FFF2-40B4-BE49-F238E27FC236}">
                <a16:creationId xmlns:a16="http://schemas.microsoft.com/office/drawing/2014/main" id="{6B25A757-B38F-4AEF-B34C-2ADE11FF9C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0015" y="2136343"/>
            <a:ext cx="7092266" cy="3947098"/>
          </a:xfrm>
          <a:prstGeom prst="rect">
            <a:avLst/>
          </a:prstGeom>
        </p:spPr>
      </p:pic>
      <p:cxnSp>
        <p:nvCxnSpPr>
          <p:cNvPr id="18" name="Straight Connector 4">
            <a:extLst>
              <a:ext uri="{FF2B5EF4-FFF2-40B4-BE49-F238E27FC236}">
                <a16:creationId xmlns:a16="http://schemas.microsoft.com/office/drawing/2014/main" id="{0BEAB030-32BA-4E30-BDBE-57911D3866A0}"/>
              </a:ext>
            </a:extLst>
          </p:cNvPr>
          <p:cNvCxnSpPr>
            <a:cxnSpLocks/>
          </p:cNvCxnSpPr>
          <p:nvPr/>
        </p:nvCxnSpPr>
        <p:spPr>
          <a:xfrm flipV="1">
            <a:off x="0" y="1231723"/>
            <a:ext cx="3337545" cy="12555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1666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Agrupar 49">
            <a:extLst>
              <a:ext uri="{FF2B5EF4-FFF2-40B4-BE49-F238E27FC236}">
                <a16:creationId xmlns:a16="http://schemas.microsoft.com/office/drawing/2014/main" id="{9CF6DCD9-189C-409B-9AF8-44AD2BA1D90B}"/>
              </a:ext>
            </a:extLst>
          </p:cNvPr>
          <p:cNvGrpSpPr/>
          <p:nvPr/>
        </p:nvGrpSpPr>
        <p:grpSpPr>
          <a:xfrm>
            <a:off x="8149822" y="943707"/>
            <a:ext cx="4025152" cy="6036245"/>
            <a:chOff x="2085630" y="1381703"/>
            <a:chExt cx="3610243" cy="3422659"/>
          </a:xfrm>
          <a:solidFill>
            <a:srgbClr val="0B233F"/>
          </a:solidFill>
        </p:grpSpPr>
        <p:sp>
          <p:nvSpPr>
            <p:cNvPr id="51" name="Retângulo 50">
              <a:extLst>
                <a:ext uri="{FF2B5EF4-FFF2-40B4-BE49-F238E27FC236}">
                  <a16:creationId xmlns:a16="http://schemas.microsoft.com/office/drawing/2014/main" id="{2B30407F-E875-4DC8-B44B-22BA86E6F980}"/>
                </a:ext>
              </a:extLst>
            </p:cNvPr>
            <p:cNvSpPr/>
            <p:nvPr/>
          </p:nvSpPr>
          <p:spPr>
            <a:xfrm>
              <a:off x="2085630" y="1381703"/>
              <a:ext cx="3610243" cy="3422659"/>
            </a:xfrm>
            <a:prstGeom prst="rect">
              <a:avLst/>
            </a:prstGeom>
            <a:grpFill/>
            <a:ln>
              <a:noFill/>
            </a:ln>
            <a:effectLst>
              <a:softEdge rad="381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72" name="CaixaDeTexto 71">
              <a:extLst>
                <a:ext uri="{FF2B5EF4-FFF2-40B4-BE49-F238E27FC236}">
                  <a16:creationId xmlns:a16="http://schemas.microsoft.com/office/drawing/2014/main" id="{045010EE-4C65-49E9-A16C-528B7290BE5E}"/>
                </a:ext>
              </a:extLst>
            </p:cNvPr>
            <p:cNvSpPr txBox="1"/>
            <p:nvPr/>
          </p:nvSpPr>
          <p:spPr>
            <a:xfrm>
              <a:off x="2416877" y="1520754"/>
              <a:ext cx="2991775" cy="26873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400" b="1" dirty="0">
                  <a:solidFill>
                    <a:schemeClr val="bg1"/>
                  </a:solidFill>
                </a:rPr>
                <a:t>O que a RFB quer?</a:t>
              </a:r>
            </a:p>
          </p:txBody>
        </p:sp>
      </p:grpSp>
      <p:pic>
        <p:nvPicPr>
          <p:cNvPr id="19" name="Imagem 18">
            <a:extLst>
              <a:ext uri="{FF2B5EF4-FFF2-40B4-BE49-F238E27FC236}">
                <a16:creationId xmlns:a16="http://schemas.microsoft.com/office/drawing/2014/main" id="{C96C7103-BD0C-437F-89C8-DB637B4708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984851"/>
            <a:ext cx="8117568" cy="5885235"/>
          </a:xfrm>
          <a:prstGeom prst="rect">
            <a:avLst/>
          </a:prstGeom>
        </p:spPr>
      </p:pic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BAB88F74-BD7B-49D3-B578-5677F1A4EC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BAB88F74-BD7B-49D3-B578-5677F1A4E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Elipse 69">
            <a:extLst>
              <a:ext uri="{FF2B5EF4-FFF2-40B4-BE49-F238E27FC236}">
                <a16:creationId xmlns:a16="http://schemas.microsoft.com/office/drawing/2014/main" id="{498A0338-11CD-4C00-B005-639E97CE5DD9}"/>
              </a:ext>
            </a:extLst>
          </p:cNvPr>
          <p:cNvSpPr/>
          <p:nvPr/>
        </p:nvSpPr>
        <p:spPr>
          <a:xfrm>
            <a:off x="5323304" y="1146665"/>
            <a:ext cx="2612397" cy="1151576"/>
          </a:xfrm>
          <a:custGeom>
            <a:avLst/>
            <a:gdLst>
              <a:gd name="connsiteX0" fmla="*/ 0 w 2612397"/>
              <a:gd name="connsiteY0" fmla="*/ 575788 h 1151576"/>
              <a:gd name="connsiteX1" fmla="*/ 1306199 w 2612397"/>
              <a:gd name="connsiteY1" fmla="*/ 0 h 1151576"/>
              <a:gd name="connsiteX2" fmla="*/ 2612398 w 2612397"/>
              <a:gd name="connsiteY2" fmla="*/ 575788 h 1151576"/>
              <a:gd name="connsiteX3" fmla="*/ 1306199 w 2612397"/>
              <a:gd name="connsiteY3" fmla="*/ 1151576 h 1151576"/>
              <a:gd name="connsiteX4" fmla="*/ 0 w 2612397"/>
              <a:gd name="connsiteY4" fmla="*/ 575788 h 1151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2397" h="1151576" extrusionOk="0">
                <a:moveTo>
                  <a:pt x="0" y="575788"/>
                </a:moveTo>
                <a:cubicBezTo>
                  <a:pt x="-56076" y="191847"/>
                  <a:pt x="678400" y="-33982"/>
                  <a:pt x="1306199" y="0"/>
                </a:cubicBezTo>
                <a:cubicBezTo>
                  <a:pt x="2011753" y="8900"/>
                  <a:pt x="2641350" y="249150"/>
                  <a:pt x="2612398" y="575788"/>
                </a:cubicBezTo>
                <a:cubicBezTo>
                  <a:pt x="2595842" y="860780"/>
                  <a:pt x="2000922" y="1234565"/>
                  <a:pt x="1306199" y="1151576"/>
                </a:cubicBezTo>
                <a:cubicBezTo>
                  <a:pt x="603265" y="1126110"/>
                  <a:pt x="56856" y="889108"/>
                  <a:pt x="0" y="575788"/>
                </a:cubicBezTo>
                <a:close/>
              </a:path>
            </a:pathLst>
          </a:custGeom>
          <a:noFill/>
          <a:ln w="38100">
            <a:solidFill>
              <a:schemeClr val="bg1">
                <a:lumMod val="85000"/>
              </a:schemeClr>
            </a:solidFill>
            <a:extLst>
              <a:ext uri="{C807C97D-BFC1-408E-A445-0C87EB9F89A2}">
                <ask:lineSketchStyleProps xmlns:ask="http://schemas.microsoft.com/office/drawing/2018/sketchyshapes" sd="879248734">
                  <a:prstGeom prst="ellipse">
                    <a:avLst/>
                  </a:prstGeom>
                  <ask:type>
                    <ask:lineSketchCurve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4" name="Imagem 13" descr="Logotipo, nome da empresa&#10;&#10;Descrição gerada automaticamente">
            <a:extLst>
              <a:ext uri="{FF2B5EF4-FFF2-40B4-BE49-F238E27FC236}">
                <a16:creationId xmlns:a16="http://schemas.microsoft.com/office/drawing/2014/main" id="{4270DE0F-D0BB-41D2-8A4E-88B3835CE7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13" y="1146665"/>
            <a:ext cx="1461972" cy="99253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505ED4A6-6DD6-4155-B64E-A1836D7DBE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76360" y="1484602"/>
            <a:ext cx="1562392" cy="52322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B85493A5-3C31-4F58-AC5A-D2AD0CAC131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10001" y="1583945"/>
            <a:ext cx="486801" cy="324534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ED9E966D-3DEC-47EB-B7EB-2E6A7DAE14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81411" y="2143771"/>
            <a:ext cx="545990" cy="270739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4ED16337-DBF1-4EA6-A088-43D7A379470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67042" y="996646"/>
            <a:ext cx="581025" cy="300038"/>
          </a:xfrm>
          <a:prstGeom prst="rect">
            <a:avLst/>
          </a:prstGeom>
        </p:spPr>
      </p:pic>
      <p:pic>
        <p:nvPicPr>
          <p:cNvPr id="32" name="Imagem 31">
            <a:extLst>
              <a:ext uri="{FF2B5EF4-FFF2-40B4-BE49-F238E27FC236}">
                <a16:creationId xmlns:a16="http://schemas.microsoft.com/office/drawing/2014/main" id="{99F10D95-5503-4EC9-AD4E-9D1DD513356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18984" y="1559376"/>
            <a:ext cx="555875" cy="373672"/>
          </a:xfrm>
          <a:prstGeom prst="rect">
            <a:avLst/>
          </a:prstGeom>
        </p:spPr>
      </p:pic>
      <p:sp>
        <p:nvSpPr>
          <p:cNvPr id="75" name="Retângulo 74">
            <a:extLst>
              <a:ext uri="{FF2B5EF4-FFF2-40B4-BE49-F238E27FC236}">
                <a16:creationId xmlns:a16="http://schemas.microsoft.com/office/drawing/2014/main" id="{0816DD7A-957A-4B43-8B21-D03BDFA6A5AE}"/>
              </a:ext>
            </a:extLst>
          </p:cNvPr>
          <p:cNvSpPr/>
          <p:nvPr/>
        </p:nvSpPr>
        <p:spPr>
          <a:xfrm>
            <a:off x="8615755" y="4596322"/>
            <a:ext cx="2809760" cy="2561219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t-BR"/>
          </a:p>
        </p:txBody>
      </p:sp>
      <p:sp>
        <p:nvSpPr>
          <p:cNvPr id="76" name="CaixaDeTexto 75">
            <a:extLst>
              <a:ext uri="{FF2B5EF4-FFF2-40B4-BE49-F238E27FC236}">
                <a16:creationId xmlns:a16="http://schemas.microsoft.com/office/drawing/2014/main" id="{EC7243AA-59C6-4DAF-9B38-738D0247D150}"/>
              </a:ext>
            </a:extLst>
          </p:cNvPr>
          <p:cNvSpPr txBox="1"/>
          <p:nvPr/>
        </p:nvSpPr>
        <p:spPr>
          <a:xfrm>
            <a:off x="8288817" y="1804642"/>
            <a:ext cx="3886156" cy="177396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128016" rIns="128016" bIns="128016" numCol="1" spcCol="1270" anchor="ctr" anchorCtr="0">
            <a:noAutofit/>
          </a:bodyPr>
          <a:lstStyle/>
          <a:p>
            <a:pPr marL="0" lvl="0" indent="0" algn="l" defTabSz="800100" rtl="0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None/>
            </a:pPr>
            <a:r>
              <a:rPr lang="pt-BR" sz="1500" b="1" kern="1200" noProof="0" dirty="0">
                <a:solidFill>
                  <a:schemeClr val="bg1"/>
                </a:solidFill>
                <a:latin typeface="Century Gothic" panose="020B0502020202020204" pitchFamily="34" charset="0"/>
                <a:cs typeface="Calibri"/>
              </a:rPr>
              <a:t>1) Envolvimento da Administração</a:t>
            </a:r>
          </a:p>
          <a:p>
            <a:pPr marL="0" lvl="0" indent="0" algn="l" defTabSz="800100" rtl="0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None/>
            </a:pPr>
            <a:r>
              <a:rPr lang="pt-BR" sz="1500" b="1" kern="1200" noProof="0" dirty="0">
                <a:solidFill>
                  <a:schemeClr val="bg1"/>
                </a:solidFill>
                <a:latin typeface="Century Gothic" panose="020B0502020202020204" pitchFamily="34" charset="0"/>
                <a:cs typeface="Calibri"/>
              </a:rPr>
              <a:t>2) </a:t>
            </a:r>
            <a:r>
              <a:rPr lang="pt-BR" sz="1500" b="1" i="1" kern="1200" noProof="0" dirty="0" err="1">
                <a:solidFill>
                  <a:schemeClr val="bg1"/>
                </a:solidFill>
                <a:latin typeface="Century Gothic" panose="020B0502020202020204" pitchFamily="34" charset="0"/>
                <a:cs typeface="Calibri"/>
              </a:rPr>
              <a:t>Disclosure</a:t>
            </a:r>
            <a:r>
              <a:rPr lang="pt-BR" sz="1500" b="1" kern="1200" noProof="0" dirty="0">
                <a:solidFill>
                  <a:schemeClr val="bg1"/>
                </a:solidFill>
                <a:latin typeface="Century Gothic" panose="020B0502020202020204" pitchFamily="34" charset="0"/>
                <a:cs typeface="Calibri"/>
              </a:rPr>
              <a:t> de operações</a:t>
            </a:r>
          </a:p>
          <a:p>
            <a:pPr marL="0" lvl="0" indent="0" algn="l" defTabSz="800100" rtl="0">
              <a:lnSpc>
                <a:spcPct val="90000"/>
              </a:lnSpc>
              <a:spcBef>
                <a:spcPct val="0"/>
              </a:spcBef>
              <a:spcAft>
                <a:spcPts val="1800"/>
              </a:spcAft>
              <a:buFont typeface="Arial"/>
              <a:buNone/>
            </a:pPr>
            <a:r>
              <a:rPr lang="pt-BR" sz="1500" b="1" kern="1200" noProof="0" dirty="0">
                <a:solidFill>
                  <a:schemeClr val="bg1"/>
                </a:solidFill>
                <a:latin typeface="Century Gothic" panose="020B0502020202020204" pitchFamily="34" charset="0"/>
                <a:cs typeface="Calibri"/>
              </a:rPr>
              <a:t>3) Governança dos riscos fiscais</a:t>
            </a:r>
            <a:endParaRPr lang="pt-BR" sz="1500" b="1" kern="1200" noProof="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77" name="CaixaDeTexto 76">
            <a:extLst>
              <a:ext uri="{FF2B5EF4-FFF2-40B4-BE49-F238E27FC236}">
                <a16:creationId xmlns:a16="http://schemas.microsoft.com/office/drawing/2014/main" id="{6CFCF238-474B-4066-9EC7-0E8E616A203D}"/>
              </a:ext>
            </a:extLst>
          </p:cNvPr>
          <p:cNvSpPr txBox="1"/>
          <p:nvPr/>
        </p:nvSpPr>
        <p:spPr>
          <a:xfrm>
            <a:off x="8971264" y="4022260"/>
            <a:ext cx="39572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bg1"/>
                </a:solidFill>
              </a:rPr>
              <a:t>O que os contribuintes querem?</a:t>
            </a:r>
          </a:p>
        </p:txBody>
      </p:sp>
      <p:grpSp>
        <p:nvGrpSpPr>
          <p:cNvPr id="78" name="Agrupar 77">
            <a:extLst>
              <a:ext uri="{FF2B5EF4-FFF2-40B4-BE49-F238E27FC236}">
                <a16:creationId xmlns:a16="http://schemas.microsoft.com/office/drawing/2014/main" id="{77A8F980-F850-4841-B64A-3136FAAC01CA}"/>
              </a:ext>
            </a:extLst>
          </p:cNvPr>
          <p:cNvGrpSpPr/>
          <p:nvPr/>
        </p:nvGrpSpPr>
        <p:grpSpPr>
          <a:xfrm>
            <a:off x="8336458" y="2066652"/>
            <a:ext cx="3506527" cy="4894357"/>
            <a:chOff x="1537680" y="0"/>
            <a:chExt cx="2790689" cy="4700668"/>
          </a:xfrm>
        </p:grpSpPr>
        <p:sp>
          <p:nvSpPr>
            <p:cNvPr id="79" name="Retângulo 78">
              <a:extLst>
                <a:ext uri="{FF2B5EF4-FFF2-40B4-BE49-F238E27FC236}">
                  <a16:creationId xmlns:a16="http://schemas.microsoft.com/office/drawing/2014/main" id="{AC7ECD68-3A47-4D21-B61E-892A4699BE86}"/>
                </a:ext>
              </a:extLst>
            </p:cNvPr>
            <p:cNvSpPr/>
            <p:nvPr/>
          </p:nvSpPr>
          <p:spPr>
            <a:xfrm>
              <a:off x="1537680" y="0"/>
              <a:ext cx="2790689" cy="199614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0" name="CaixaDeTexto 79">
              <a:extLst>
                <a:ext uri="{FF2B5EF4-FFF2-40B4-BE49-F238E27FC236}">
                  <a16:creationId xmlns:a16="http://schemas.microsoft.com/office/drawing/2014/main" id="{246CC6A0-5390-4A37-A7EA-BA0BBB6143F1}"/>
                </a:ext>
              </a:extLst>
            </p:cNvPr>
            <p:cNvSpPr txBox="1"/>
            <p:nvPr/>
          </p:nvSpPr>
          <p:spPr>
            <a:xfrm>
              <a:off x="1537680" y="2704519"/>
              <a:ext cx="2719317" cy="199614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28016" rIns="128016" bIns="128016" numCol="1" spcCol="1270" anchor="ctr" anchorCtr="0">
              <a:noAutofit/>
            </a:bodyPr>
            <a:lstStyle/>
            <a:p>
              <a:pPr marL="342900" indent="-342900" defTabSz="800100">
                <a:lnSpc>
                  <a:spcPct val="90000"/>
                </a:lnSpc>
                <a:spcBef>
                  <a:spcPct val="0"/>
                </a:spcBef>
                <a:spcAft>
                  <a:spcPts val="1800"/>
                </a:spcAft>
                <a:buFont typeface="Arial"/>
                <a:buAutoNum type="arabicParenR"/>
              </a:pPr>
              <a:r>
                <a:rPr lang="pt-BR" sz="1500" b="1" kern="1200" noProof="0" dirty="0">
                  <a:solidFill>
                    <a:schemeClr val="bg1"/>
                  </a:solidFill>
                  <a:latin typeface="Century Gothic"/>
                  <a:cs typeface="Calibri"/>
                </a:rPr>
                <a:t>Melhoria no relacionamento</a:t>
              </a:r>
              <a:r>
                <a:rPr lang="pt-BR" sz="1500" b="1" dirty="0">
                  <a:solidFill>
                    <a:schemeClr val="bg1"/>
                  </a:solidFill>
                  <a:latin typeface="Century Gothic"/>
                  <a:cs typeface="Calibri"/>
                </a:rPr>
                <a:t> </a:t>
              </a:r>
              <a:endParaRPr lang="pt-BR" sz="1500" b="1" kern="1200" noProof="0" dirty="0">
                <a:solidFill>
                  <a:schemeClr val="bg1"/>
                </a:solidFill>
                <a:latin typeface="Century Gothic" panose="020B0502020202020204" pitchFamily="34" charset="0"/>
                <a:cs typeface="Calibri"/>
              </a:endParaRPr>
            </a:p>
            <a:p>
              <a:pPr marL="342900" lvl="0" indent="-342900" algn="l" defTabSz="800100" rtl="0">
                <a:lnSpc>
                  <a:spcPct val="90000"/>
                </a:lnSpc>
                <a:spcBef>
                  <a:spcPct val="0"/>
                </a:spcBef>
                <a:spcAft>
                  <a:spcPts val="1800"/>
                </a:spcAft>
                <a:buFont typeface="Arial"/>
                <a:buAutoNum type="arabicParenR"/>
              </a:pPr>
              <a:r>
                <a:rPr lang="pt-BR" sz="1500" b="1" kern="1200" noProof="0" dirty="0">
                  <a:solidFill>
                    <a:schemeClr val="bg1"/>
                  </a:solidFill>
                  <a:latin typeface="Century Gothic"/>
                  <a:cs typeface="Calibri"/>
                </a:rPr>
                <a:t>Possibilidade de auto regularização</a:t>
              </a:r>
            </a:p>
            <a:p>
              <a:pPr marL="0" lvl="0" indent="0" algn="l" defTabSz="800100" rtl="0">
                <a:lnSpc>
                  <a:spcPct val="90000"/>
                </a:lnSpc>
                <a:spcBef>
                  <a:spcPct val="0"/>
                </a:spcBef>
                <a:spcAft>
                  <a:spcPts val="1800"/>
                </a:spcAft>
                <a:buFont typeface="Arial"/>
                <a:buNone/>
              </a:pPr>
              <a:r>
                <a:rPr lang="pt-BR" sz="1500" b="1" kern="1200" noProof="0" dirty="0">
                  <a:solidFill>
                    <a:schemeClr val="bg1"/>
                  </a:solidFill>
                  <a:latin typeface="Century Gothic" panose="020B0502020202020204" pitchFamily="34" charset="0"/>
                  <a:cs typeface="Calibri"/>
                </a:rPr>
                <a:t>3)   Redução das penalidades: Concordar em discordar</a:t>
              </a:r>
              <a:endParaRPr lang="pt-BR" sz="1500" kern="1200" noProof="0" dirty="0">
                <a:solidFill>
                  <a:schemeClr val="bg1"/>
                </a:solidFill>
                <a:latin typeface="Calibri" panose="020F0502020204030204"/>
                <a:ea typeface="+mn-ea"/>
                <a:cs typeface="Calibri"/>
              </a:endParaRPr>
            </a:p>
          </p:txBody>
        </p:sp>
      </p:grpSp>
      <p:pic>
        <p:nvPicPr>
          <p:cNvPr id="17" name="Gráfico 16" descr="Na mosca com preenchimento sólido">
            <a:extLst>
              <a:ext uri="{FF2B5EF4-FFF2-40B4-BE49-F238E27FC236}">
                <a16:creationId xmlns:a16="http://schemas.microsoft.com/office/drawing/2014/main" id="{2ADE6574-F728-4329-80E0-C877F0F993F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06124" y="4076994"/>
            <a:ext cx="571622" cy="571622"/>
          </a:xfrm>
          <a:prstGeom prst="rect">
            <a:avLst/>
          </a:prstGeom>
        </p:spPr>
      </p:pic>
      <p:sp>
        <p:nvSpPr>
          <p:cNvPr id="47" name="Title 1">
            <a:extLst>
              <a:ext uri="{FF2B5EF4-FFF2-40B4-BE49-F238E27FC236}">
                <a16:creationId xmlns:a16="http://schemas.microsoft.com/office/drawing/2014/main" id="{015F26C4-A949-4FDD-B759-89EDE42A3059}"/>
              </a:ext>
            </a:extLst>
          </p:cNvPr>
          <p:cNvSpPr txBox="1">
            <a:spLocks/>
          </p:cNvSpPr>
          <p:nvPr/>
        </p:nvSpPr>
        <p:spPr>
          <a:xfrm>
            <a:off x="0" y="-74534"/>
            <a:ext cx="12168000" cy="901272"/>
          </a:xfrm>
          <a:prstGeom prst="rect">
            <a:avLst/>
          </a:prstGeom>
          <a:solidFill>
            <a:srgbClr val="0B233F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DA042C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pt-BR" sz="2500" dirty="0">
                <a:solidFill>
                  <a:schemeClr val="bg1"/>
                </a:solidFill>
                <a:latin typeface="Century Gothic"/>
                <a:ea typeface="+mn-ea"/>
                <a:cs typeface="+mn-cs"/>
              </a:rPr>
              <a:t>Modelo inspirado na OCDE, desenvolvido pela RFB em parcerias com associações e empresas</a:t>
            </a:r>
            <a:endParaRPr lang="pt-BR" sz="2500" dirty="0">
              <a:solidFill>
                <a:schemeClr val="bg1"/>
              </a:solidFill>
              <a:latin typeface="Century Gothic"/>
            </a:endParaRPr>
          </a:p>
        </p:txBody>
      </p:sp>
      <p:cxnSp>
        <p:nvCxnSpPr>
          <p:cNvPr id="52" name="Straight Connector 48">
            <a:extLst>
              <a:ext uri="{FF2B5EF4-FFF2-40B4-BE49-F238E27FC236}">
                <a16:creationId xmlns:a16="http://schemas.microsoft.com/office/drawing/2014/main" id="{D0459679-5BE7-4348-917D-088C711DC710}"/>
              </a:ext>
            </a:extLst>
          </p:cNvPr>
          <p:cNvCxnSpPr>
            <a:cxnSpLocks/>
          </p:cNvCxnSpPr>
          <p:nvPr/>
        </p:nvCxnSpPr>
        <p:spPr>
          <a:xfrm flipV="1">
            <a:off x="784132" y="826313"/>
            <a:ext cx="3479596" cy="13622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Gráfico 70" descr="Na mosca com preenchimento sólido">
            <a:extLst>
              <a:ext uri="{FF2B5EF4-FFF2-40B4-BE49-F238E27FC236}">
                <a16:creationId xmlns:a16="http://schemas.microsoft.com/office/drawing/2014/main" id="{8E2506CB-AE78-4188-AD44-F9837F82EFB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258253" y="1163846"/>
            <a:ext cx="571622" cy="571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850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C6F93B9-D90C-468F-94C6-97755B8F87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5929" y="784830"/>
            <a:ext cx="9970541" cy="5945567"/>
          </a:xfrm>
          <a:prstGeom prst="rect">
            <a:avLst/>
          </a:prstGeom>
        </p:spPr>
      </p:pic>
      <p:sp>
        <p:nvSpPr>
          <p:cNvPr id="7" name="Retângulo 6">
            <a:extLst>
              <a:ext uri="{FF2B5EF4-FFF2-40B4-BE49-F238E27FC236}">
                <a16:creationId xmlns:a16="http://schemas.microsoft.com/office/drawing/2014/main" id="{DE1A1E59-D6C9-442F-9795-D1F1F944BE90}"/>
              </a:ext>
            </a:extLst>
          </p:cNvPr>
          <p:cNvSpPr/>
          <p:nvPr/>
        </p:nvSpPr>
        <p:spPr>
          <a:xfrm>
            <a:off x="323088" y="0"/>
            <a:ext cx="11868912" cy="784830"/>
          </a:xfrm>
          <a:prstGeom prst="rect">
            <a:avLst/>
          </a:prstGeom>
          <a:solidFill>
            <a:srgbClr val="0B23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9936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</TotalTime>
  <Words>515</Words>
  <Application>Microsoft Office PowerPoint</Application>
  <PresentationFormat>Widescreen</PresentationFormat>
  <Paragraphs>69</Paragraphs>
  <Slides>1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1" baseType="lpstr">
      <vt:lpstr>Arial</vt:lpstr>
      <vt:lpstr>Calibri</vt:lpstr>
      <vt:lpstr>Calibri Light</vt:lpstr>
      <vt:lpstr>Century Gothic</vt:lpstr>
      <vt:lpstr>Gill Sans</vt:lpstr>
      <vt:lpstr>Monserrat</vt:lpstr>
      <vt:lpstr>Roboto</vt:lpstr>
      <vt:lpstr>Segoe UI</vt:lpstr>
      <vt:lpstr>Tema do Office</vt:lpstr>
      <vt:lpstr>think-cell Slide</vt:lpstr>
      <vt:lpstr> Compliance Cooperativo  [A experiência internacional e a sua implementação no Brasil] </vt:lpstr>
      <vt:lpstr>Apresentação do PowerPoint</vt:lpstr>
      <vt:lpstr>Em estudo comparativo sobre a complexidade fiscal o Brasil ocupa a 60ª posição (de 69 países pesquisados), estando na penúltima posição se comparado com os demais países da América do Sul (a frente apenas da Colômbia)</vt:lpstr>
      <vt:lpstr>Apresentação do PowerPoint</vt:lpstr>
      <vt:lpstr>Apresentação do PowerPoint</vt:lpstr>
      <vt:lpstr>Apresentação do PowerPoint</vt:lpstr>
      <vt:lpstr>x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Caca de Oliveira</dc:creator>
  <cp:lastModifiedBy>Congresso IBET</cp:lastModifiedBy>
  <cp:revision>14</cp:revision>
  <dcterms:created xsi:type="dcterms:W3CDTF">2022-11-18T18:20:41Z</dcterms:created>
  <dcterms:modified xsi:type="dcterms:W3CDTF">2022-12-07T11:15:38Z</dcterms:modified>
</cp:coreProperties>
</file>